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ink/ink1.xml" ContentType="application/inkml+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2" r:id="rId3"/>
    <p:sldMasterId id="2147483691" r:id="rId4"/>
    <p:sldMasterId id="2147483706" r:id="rId5"/>
  </p:sldMasterIdLst>
  <p:sldIdLst>
    <p:sldId id="4213" r:id="rId6"/>
    <p:sldId id="4415" r:id="rId7"/>
    <p:sldId id="4412" r:id="rId8"/>
    <p:sldId id="3965" r:id="rId9"/>
    <p:sldId id="3968" r:id="rId10"/>
    <p:sldId id="4256" r:id="rId11"/>
    <p:sldId id="4356" r:id="rId12"/>
    <p:sldId id="4358" r:id="rId13"/>
    <p:sldId id="4355" r:id="rId14"/>
    <p:sldId id="4354" r:id="rId15"/>
    <p:sldId id="4566" r:id="rId16"/>
    <p:sldId id="4530" r:id="rId17"/>
    <p:sldId id="4473" r:id="rId18"/>
    <p:sldId id="4609" r:id="rId19"/>
    <p:sldId id="4531" r:id="rId20"/>
    <p:sldId id="4532" r:id="rId21"/>
    <p:sldId id="4533" r:id="rId22"/>
    <p:sldId id="4608" r:id="rId23"/>
    <p:sldId id="4579" r:id="rId24"/>
    <p:sldId id="4580" r:id="rId25"/>
    <p:sldId id="4586" r:id="rId26"/>
    <p:sldId id="4584" r:id="rId27"/>
    <p:sldId id="4585" r:id="rId28"/>
    <p:sldId id="4581" r:id="rId29"/>
    <p:sldId id="4582" r:id="rId30"/>
    <p:sldId id="4583" r:id="rId31"/>
    <p:sldId id="4588" r:id="rId32"/>
    <p:sldId id="4589" r:id="rId33"/>
    <p:sldId id="3878" r:id="rId34"/>
    <p:sldId id="3874" r:id="rId35"/>
    <p:sldId id="4590" r:id="rId36"/>
    <p:sldId id="4604" r:id="rId37"/>
    <p:sldId id="4591" r:id="rId38"/>
    <p:sldId id="4592" r:id="rId39"/>
    <p:sldId id="4593" r:id="rId40"/>
    <p:sldId id="4594" r:id="rId41"/>
    <p:sldId id="4595" r:id="rId42"/>
    <p:sldId id="4596" r:id="rId43"/>
    <p:sldId id="4597" r:id="rId44"/>
    <p:sldId id="4598" r:id="rId45"/>
    <p:sldId id="4330" r:id="rId46"/>
    <p:sldId id="4600" r:id="rId47"/>
    <p:sldId id="4610" r:id="rId48"/>
    <p:sldId id="4605" r:id="rId49"/>
    <p:sldId id="4607" r:id="rId50"/>
    <p:sldId id="4606" r:id="rId5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149" d="100"/>
          <a:sy n="149" d="100"/>
        </p:scale>
        <p:origin x="692" y="96"/>
      </p:cViewPr>
      <p:guideLst/>
    </p:cSldViewPr>
  </p:slid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viewProps" Target="viewProps.xml"/><Relationship Id="rId5" Type="http://schemas.openxmlformats.org/officeDocument/2006/relationships/slideMaster" Target="slideMasters/slideMaster5.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microsoft.com/office/2016/11/relationships/changesInfo" Target="changesInfos/changesInfo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udarshan Chakravarthi" userId="9632d19e-631d-46a5-9e9a-d9cc496f17d0" providerId="ADAL" clId="{0F7388B1-62A2-4561-9014-6447F27641FA}"/>
    <pc:docChg chg="undo custSel delSld modSld">
      <pc:chgData name="Sudarshan Chakravarthi" userId="9632d19e-631d-46a5-9e9a-d9cc496f17d0" providerId="ADAL" clId="{0F7388B1-62A2-4561-9014-6447F27641FA}" dt="2023-07-07T07:56:32.865" v="88" actId="478"/>
      <pc:docMkLst>
        <pc:docMk/>
      </pc:docMkLst>
      <pc:sldChg chg="del">
        <pc:chgData name="Sudarshan Chakravarthi" userId="9632d19e-631d-46a5-9e9a-d9cc496f17d0" providerId="ADAL" clId="{0F7388B1-62A2-4561-9014-6447F27641FA}" dt="2023-07-07T07:50:12.570" v="0" actId="47"/>
        <pc:sldMkLst>
          <pc:docMk/>
          <pc:sldMk cId="1257219027" sldId="3316"/>
        </pc:sldMkLst>
      </pc:sldChg>
      <pc:sldChg chg="del">
        <pc:chgData name="Sudarshan Chakravarthi" userId="9632d19e-631d-46a5-9e9a-d9cc496f17d0" providerId="ADAL" clId="{0F7388B1-62A2-4561-9014-6447F27641FA}" dt="2023-07-07T07:50:12.570" v="0" actId="47"/>
        <pc:sldMkLst>
          <pc:docMk/>
          <pc:sldMk cId="2058101268" sldId="4212"/>
        </pc:sldMkLst>
      </pc:sldChg>
      <pc:sldChg chg="del">
        <pc:chgData name="Sudarshan Chakravarthi" userId="9632d19e-631d-46a5-9e9a-d9cc496f17d0" providerId="ADAL" clId="{0F7388B1-62A2-4561-9014-6447F27641FA}" dt="2023-07-07T07:50:12.570" v="0" actId="47"/>
        <pc:sldMkLst>
          <pc:docMk/>
          <pc:sldMk cId="3470099226" sldId="4219"/>
        </pc:sldMkLst>
      </pc:sldChg>
      <pc:sldChg chg="del">
        <pc:chgData name="Sudarshan Chakravarthi" userId="9632d19e-631d-46a5-9e9a-d9cc496f17d0" providerId="ADAL" clId="{0F7388B1-62A2-4561-9014-6447F27641FA}" dt="2023-07-07T07:50:12.570" v="0" actId="47"/>
        <pc:sldMkLst>
          <pc:docMk/>
          <pc:sldMk cId="1495713330" sldId="4220"/>
        </pc:sldMkLst>
      </pc:sldChg>
      <pc:sldChg chg="del">
        <pc:chgData name="Sudarshan Chakravarthi" userId="9632d19e-631d-46a5-9e9a-d9cc496f17d0" providerId="ADAL" clId="{0F7388B1-62A2-4561-9014-6447F27641FA}" dt="2023-07-07T07:50:12.570" v="0" actId="47"/>
        <pc:sldMkLst>
          <pc:docMk/>
          <pc:sldMk cId="3745045534" sldId="4222"/>
        </pc:sldMkLst>
      </pc:sldChg>
      <pc:sldChg chg="del">
        <pc:chgData name="Sudarshan Chakravarthi" userId="9632d19e-631d-46a5-9e9a-d9cc496f17d0" providerId="ADAL" clId="{0F7388B1-62A2-4561-9014-6447F27641FA}" dt="2023-07-07T07:50:12.570" v="0" actId="47"/>
        <pc:sldMkLst>
          <pc:docMk/>
          <pc:sldMk cId="284487363" sldId="4225"/>
        </pc:sldMkLst>
      </pc:sldChg>
      <pc:sldChg chg="del">
        <pc:chgData name="Sudarshan Chakravarthi" userId="9632d19e-631d-46a5-9e9a-d9cc496f17d0" providerId="ADAL" clId="{0F7388B1-62A2-4561-9014-6447F27641FA}" dt="2023-07-07T07:50:12.570" v="0" actId="47"/>
        <pc:sldMkLst>
          <pc:docMk/>
          <pc:sldMk cId="1777480401" sldId="4226"/>
        </pc:sldMkLst>
      </pc:sldChg>
      <pc:sldChg chg="del">
        <pc:chgData name="Sudarshan Chakravarthi" userId="9632d19e-631d-46a5-9e9a-d9cc496f17d0" providerId="ADAL" clId="{0F7388B1-62A2-4561-9014-6447F27641FA}" dt="2023-07-07T07:50:12.570" v="0" actId="47"/>
        <pc:sldMkLst>
          <pc:docMk/>
          <pc:sldMk cId="78392423" sldId="4228"/>
        </pc:sldMkLst>
      </pc:sldChg>
      <pc:sldChg chg="del">
        <pc:chgData name="Sudarshan Chakravarthi" userId="9632d19e-631d-46a5-9e9a-d9cc496f17d0" providerId="ADAL" clId="{0F7388B1-62A2-4561-9014-6447F27641FA}" dt="2023-07-07T07:50:12.570" v="0" actId="47"/>
        <pc:sldMkLst>
          <pc:docMk/>
          <pc:sldMk cId="3509716165" sldId="4229"/>
        </pc:sldMkLst>
      </pc:sldChg>
      <pc:sldChg chg="del">
        <pc:chgData name="Sudarshan Chakravarthi" userId="9632d19e-631d-46a5-9e9a-d9cc496f17d0" providerId="ADAL" clId="{0F7388B1-62A2-4561-9014-6447F27641FA}" dt="2023-07-07T07:50:12.570" v="0" actId="47"/>
        <pc:sldMkLst>
          <pc:docMk/>
          <pc:sldMk cId="2445627982" sldId="4230"/>
        </pc:sldMkLst>
      </pc:sldChg>
      <pc:sldChg chg="del">
        <pc:chgData name="Sudarshan Chakravarthi" userId="9632d19e-631d-46a5-9e9a-d9cc496f17d0" providerId="ADAL" clId="{0F7388B1-62A2-4561-9014-6447F27641FA}" dt="2023-07-07T07:50:12.570" v="0" actId="47"/>
        <pc:sldMkLst>
          <pc:docMk/>
          <pc:sldMk cId="310649150" sldId="4231"/>
        </pc:sldMkLst>
      </pc:sldChg>
      <pc:sldChg chg="del">
        <pc:chgData name="Sudarshan Chakravarthi" userId="9632d19e-631d-46a5-9e9a-d9cc496f17d0" providerId="ADAL" clId="{0F7388B1-62A2-4561-9014-6447F27641FA}" dt="2023-07-07T07:50:12.570" v="0" actId="47"/>
        <pc:sldMkLst>
          <pc:docMk/>
          <pc:sldMk cId="3808608602" sldId="4232"/>
        </pc:sldMkLst>
      </pc:sldChg>
      <pc:sldChg chg="del">
        <pc:chgData name="Sudarshan Chakravarthi" userId="9632d19e-631d-46a5-9e9a-d9cc496f17d0" providerId="ADAL" clId="{0F7388B1-62A2-4561-9014-6447F27641FA}" dt="2023-07-07T07:50:12.570" v="0" actId="47"/>
        <pc:sldMkLst>
          <pc:docMk/>
          <pc:sldMk cId="2824421007" sldId="4234"/>
        </pc:sldMkLst>
      </pc:sldChg>
      <pc:sldChg chg="del">
        <pc:chgData name="Sudarshan Chakravarthi" userId="9632d19e-631d-46a5-9e9a-d9cc496f17d0" providerId="ADAL" clId="{0F7388B1-62A2-4561-9014-6447F27641FA}" dt="2023-07-07T07:50:12.570" v="0" actId="47"/>
        <pc:sldMkLst>
          <pc:docMk/>
          <pc:sldMk cId="3871821696" sldId="4235"/>
        </pc:sldMkLst>
      </pc:sldChg>
      <pc:sldChg chg="del">
        <pc:chgData name="Sudarshan Chakravarthi" userId="9632d19e-631d-46a5-9e9a-d9cc496f17d0" providerId="ADAL" clId="{0F7388B1-62A2-4561-9014-6447F27641FA}" dt="2023-07-07T07:50:12.570" v="0" actId="47"/>
        <pc:sldMkLst>
          <pc:docMk/>
          <pc:sldMk cId="1659392497" sldId="4251"/>
        </pc:sldMkLst>
      </pc:sldChg>
      <pc:sldChg chg="del">
        <pc:chgData name="Sudarshan Chakravarthi" userId="9632d19e-631d-46a5-9e9a-d9cc496f17d0" providerId="ADAL" clId="{0F7388B1-62A2-4561-9014-6447F27641FA}" dt="2023-07-07T07:50:12.570" v="0" actId="47"/>
        <pc:sldMkLst>
          <pc:docMk/>
          <pc:sldMk cId="4231832348" sldId="4252"/>
        </pc:sldMkLst>
      </pc:sldChg>
      <pc:sldChg chg="del">
        <pc:chgData name="Sudarshan Chakravarthi" userId="9632d19e-631d-46a5-9e9a-d9cc496f17d0" providerId="ADAL" clId="{0F7388B1-62A2-4561-9014-6447F27641FA}" dt="2023-07-07T07:50:12.570" v="0" actId="47"/>
        <pc:sldMkLst>
          <pc:docMk/>
          <pc:sldMk cId="1268061230" sldId="4253"/>
        </pc:sldMkLst>
      </pc:sldChg>
      <pc:sldChg chg="del">
        <pc:chgData name="Sudarshan Chakravarthi" userId="9632d19e-631d-46a5-9e9a-d9cc496f17d0" providerId="ADAL" clId="{0F7388B1-62A2-4561-9014-6447F27641FA}" dt="2023-07-07T07:50:12.570" v="0" actId="47"/>
        <pc:sldMkLst>
          <pc:docMk/>
          <pc:sldMk cId="2822205349" sldId="4254"/>
        </pc:sldMkLst>
      </pc:sldChg>
      <pc:sldChg chg="del">
        <pc:chgData name="Sudarshan Chakravarthi" userId="9632d19e-631d-46a5-9e9a-d9cc496f17d0" providerId="ADAL" clId="{0F7388B1-62A2-4561-9014-6447F27641FA}" dt="2023-07-07T07:50:12.570" v="0" actId="47"/>
        <pc:sldMkLst>
          <pc:docMk/>
          <pc:sldMk cId="2888892022" sldId="4257"/>
        </pc:sldMkLst>
      </pc:sldChg>
      <pc:sldChg chg="del">
        <pc:chgData name="Sudarshan Chakravarthi" userId="9632d19e-631d-46a5-9e9a-d9cc496f17d0" providerId="ADAL" clId="{0F7388B1-62A2-4561-9014-6447F27641FA}" dt="2023-07-07T07:50:12.570" v="0" actId="47"/>
        <pc:sldMkLst>
          <pc:docMk/>
          <pc:sldMk cId="3694093292" sldId="4258"/>
        </pc:sldMkLst>
      </pc:sldChg>
      <pc:sldChg chg="del">
        <pc:chgData name="Sudarshan Chakravarthi" userId="9632d19e-631d-46a5-9e9a-d9cc496f17d0" providerId="ADAL" clId="{0F7388B1-62A2-4561-9014-6447F27641FA}" dt="2023-07-07T07:50:12.570" v="0" actId="47"/>
        <pc:sldMkLst>
          <pc:docMk/>
          <pc:sldMk cId="2924667156" sldId="4259"/>
        </pc:sldMkLst>
      </pc:sldChg>
      <pc:sldChg chg="del">
        <pc:chgData name="Sudarshan Chakravarthi" userId="9632d19e-631d-46a5-9e9a-d9cc496f17d0" providerId="ADAL" clId="{0F7388B1-62A2-4561-9014-6447F27641FA}" dt="2023-07-07T07:50:12.570" v="0" actId="47"/>
        <pc:sldMkLst>
          <pc:docMk/>
          <pc:sldMk cId="741184367" sldId="4260"/>
        </pc:sldMkLst>
      </pc:sldChg>
      <pc:sldChg chg="del">
        <pc:chgData name="Sudarshan Chakravarthi" userId="9632d19e-631d-46a5-9e9a-d9cc496f17d0" providerId="ADAL" clId="{0F7388B1-62A2-4561-9014-6447F27641FA}" dt="2023-07-07T07:50:12.570" v="0" actId="47"/>
        <pc:sldMkLst>
          <pc:docMk/>
          <pc:sldMk cId="3330381785" sldId="4261"/>
        </pc:sldMkLst>
      </pc:sldChg>
      <pc:sldChg chg="del">
        <pc:chgData name="Sudarshan Chakravarthi" userId="9632d19e-631d-46a5-9e9a-d9cc496f17d0" providerId="ADAL" clId="{0F7388B1-62A2-4561-9014-6447F27641FA}" dt="2023-07-07T07:50:12.570" v="0" actId="47"/>
        <pc:sldMkLst>
          <pc:docMk/>
          <pc:sldMk cId="3747872997" sldId="4262"/>
        </pc:sldMkLst>
      </pc:sldChg>
      <pc:sldChg chg="del">
        <pc:chgData name="Sudarshan Chakravarthi" userId="9632d19e-631d-46a5-9e9a-d9cc496f17d0" providerId="ADAL" clId="{0F7388B1-62A2-4561-9014-6447F27641FA}" dt="2023-07-07T07:50:12.570" v="0" actId="47"/>
        <pc:sldMkLst>
          <pc:docMk/>
          <pc:sldMk cId="2870269982" sldId="4263"/>
        </pc:sldMkLst>
      </pc:sldChg>
      <pc:sldChg chg="modSp mod">
        <pc:chgData name="Sudarshan Chakravarthi" userId="9632d19e-631d-46a5-9e9a-d9cc496f17d0" providerId="ADAL" clId="{0F7388B1-62A2-4561-9014-6447F27641FA}" dt="2023-07-07T07:53:02.949" v="1" actId="33524"/>
        <pc:sldMkLst>
          <pc:docMk/>
          <pc:sldMk cId="880961339" sldId="4473"/>
        </pc:sldMkLst>
        <pc:spChg chg="mod">
          <ac:chgData name="Sudarshan Chakravarthi" userId="9632d19e-631d-46a5-9e9a-d9cc496f17d0" providerId="ADAL" clId="{0F7388B1-62A2-4561-9014-6447F27641FA}" dt="2023-07-07T07:53:02.949" v="1" actId="33524"/>
          <ac:spMkLst>
            <pc:docMk/>
            <pc:sldMk cId="880961339" sldId="4473"/>
            <ac:spMk id="5" creationId="{9AA66C7C-C9F3-99B8-100E-9AC38C82664A}"/>
          </ac:spMkLst>
        </pc:spChg>
      </pc:sldChg>
      <pc:sldChg chg="del">
        <pc:chgData name="Sudarshan Chakravarthi" userId="9632d19e-631d-46a5-9e9a-d9cc496f17d0" providerId="ADAL" clId="{0F7388B1-62A2-4561-9014-6447F27641FA}" dt="2023-07-07T07:50:12.570" v="0" actId="47"/>
        <pc:sldMkLst>
          <pc:docMk/>
          <pc:sldMk cId="2953145738" sldId="4534"/>
        </pc:sldMkLst>
      </pc:sldChg>
      <pc:sldChg chg="del">
        <pc:chgData name="Sudarshan Chakravarthi" userId="9632d19e-631d-46a5-9e9a-d9cc496f17d0" providerId="ADAL" clId="{0F7388B1-62A2-4561-9014-6447F27641FA}" dt="2023-07-07T07:50:12.570" v="0" actId="47"/>
        <pc:sldMkLst>
          <pc:docMk/>
          <pc:sldMk cId="1652919126" sldId="4535"/>
        </pc:sldMkLst>
      </pc:sldChg>
      <pc:sldChg chg="del">
        <pc:chgData name="Sudarshan Chakravarthi" userId="9632d19e-631d-46a5-9e9a-d9cc496f17d0" providerId="ADAL" clId="{0F7388B1-62A2-4561-9014-6447F27641FA}" dt="2023-07-07T07:50:12.570" v="0" actId="47"/>
        <pc:sldMkLst>
          <pc:docMk/>
          <pc:sldMk cId="3831848483" sldId="4537"/>
        </pc:sldMkLst>
      </pc:sldChg>
      <pc:sldChg chg="del">
        <pc:chgData name="Sudarshan Chakravarthi" userId="9632d19e-631d-46a5-9e9a-d9cc496f17d0" providerId="ADAL" clId="{0F7388B1-62A2-4561-9014-6447F27641FA}" dt="2023-07-07T07:50:12.570" v="0" actId="47"/>
        <pc:sldMkLst>
          <pc:docMk/>
          <pc:sldMk cId="4216718422" sldId="4538"/>
        </pc:sldMkLst>
      </pc:sldChg>
      <pc:sldChg chg="del">
        <pc:chgData name="Sudarshan Chakravarthi" userId="9632d19e-631d-46a5-9e9a-d9cc496f17d0" providerId="ADAL" clId="{0F7388B1-62A2-4561-9014-6447F27641FA}" dt="2023-07-07T07:50:12.570" v="0" actId="47"/>
        <pc:sldMkLst>
          <pc:docMk/>
          <pc:sldMk cId="327809402" sldId="4539"/>
        </pc:sldMkLst>
      </pc:sldChg>
      <pc:sldChg chg="del">
        <pc:chgData name="Sudarshan Chakravarthi" userId="9632d19e-631d-46a5-9e9a-d9cc496f17d0" providerId="ADAL" clId="{0F7388B1-62A2-4561-9014-6447F27641FA}" dt="2023-07-07T07:50:12.570" v="0" actId="47"/>
        <pc:sldMkLst>
          <pc:docMk/>
          <pc:sldMk cId="3515747087" sldId="4540"/>
        </pc:sldMkLst>
      </pc:sldChg>
      <pc:sldChg chg="modSp mod">
        <pc:chgData name="Sudarshan Chakravarthi" userId="9632d19e-631d-46a5-9e9a-d9cc496f17d0" providerId="ADAL" clId="{0F7388B1-62A2-4561-9014-6447F27641FA}" dt="2023-07-07T07:56:00.767" v="87" actId="113"/>
        <pc:sldMkLst>
          <pc:docMk/>
          <pc:sldMk cId="1236313053" sldId="4586"/>
        </pc:sldMkLst>
        <pc:graphicFrameChg chg="modGraphic">
          <ac:chgData name="Sudarshan Chakravarthi" userId="9632d19e-631d-46a5-9e9a-d9cc496f17d0" providerId="ADAL" clId="{0F7388B1-62A2-4561-9014-6447F27641FA}" dt="2023-07-07T07:56:00.767" v="87" actId="113"/>
          <ac:graphicFrameMkLst>
            <pc:docMk/>
            <pc:sldMk cId="1236313053" sldId="4586"/>
            <ac:graphicFrameMk id="6" creationId="{341381D2-16A7-39E7-0943-74D3E04D7329}"/>
          </ac:graphicFrameMkLst>
        </pc:graphicFrameChg>
      </pc:sldChg>
      <pc:sldChg chg="delSp mod">
        <pc:chgData name="Sudarshan Chakravarthi" userId="9632d19e-631d-46a5-9e9a-d9cc496f17d0" providerId="ADAL" clId="{0F7388B1-62A2-4561-9014-6447F27641FA}" dt="2023-07-07T07:56:32.865" v="88" actId="478"/>
        <pc:sldMkLst>
          <pc:docMk/>
          <pc:sldMk cId="879330796" sldId="4589"/>
        </pc:sldMkLst>
        <pc:picChg chg="del">
          <ac:chgData name="Sudarshan Chakravarthi" userId="9632d19e-631d-46a5-9e9a-d9cc496f17d0" providerId="ADAL" clId="{0F7388B1-62A2-4561-9014-6447F27641FA}" dt="2023-07-07T07:56:32.865" v="88" actId="478"/>
          <ac:picMkLst>
            <pc:docMk/>
            <pc:sldMk cId="879330796" sldId="4589"/>
            <ac:picMk id="7" creationId="{4040FC96-8DB7-0414-1375-C79F0B4F1F14}"/>
          </ac:picMkLst>
        </pc:picChg>
      </pc:sldChg>
      <pc:sldChg chg="del">
        <pc:chgData name="Sudarshan Chakravarthi" userId="9632d19e-631d-46a5-9e9a-d9cc496f17d0" providerId="ADAL" clId="{0F7388B1-62A2-4561-9014-6447F27641FA}" dt="2023-07-07T07:50:12.570" v="0" actId="47"/>
        <pc:sldMkLst>
          <pc:docMk/>
          <pc:sldMk cId="1075915707" sldId="4611"/>
        </pc:sldMkLst>
      </pc:sldChg>
      <pc:sldMasterChg chg="delSldLayout">
        <pc:chgData name="Sudarshan Chakravarthi" userId="9632d19e-631d-46a5-9e9a-d9cc496f17d0" providerId="ADAL" clId="{0F7388B1-62A2-4561-9014-6447F27641FA}" dt="2023-07-07T07:50:12.570" v="0" actId="47"/>
        <pc:sldMasterMkLst>
          <pc:docMk/>
          <pc:sldMasterMk cId="3873164240" sldId="2147483672"/>
        </pc:sldMasterMkLst>
        <pc:sldLayoutChg chg="del">
          <pc:chgData name="Sudarshan Chakravarthi" userId="9632d19e-631d-46a5-9e9a-d9cc496f17d0" providerId="ADAL" clId="{0F7388B1-62A2-4561-9014-6447F27641FA}" dt="2023-07-07T07:50:12.570" v="0" actId="47"/>
          <pc:sldLayoutMkLst>
            <pc:docMk/>
            <pc:sldMasterMk cId="3873164240" sldId="2147483672"/>
            <pc:sldLayoutMk cId="1049260901" sldId="2147483684"/>
          </pc:sldLayoutMkLst>
        </pc:sldLayoutChg>
      </pc:sldMasterChg>
    </pc:docChg>
  </pc:docChgLst>
  <pc:docChgLst>
    <pc:chgData name="Sudarshan Chakravarthi" userId="9632d19e-631d-46a5-9e9a-d9cc496f17d0" providerId="ADAL" clId="{76E79A37-3268-42DA-B95A-A0555D918C30}"/>
    <pc:docChg chg="undo custSel addSld delSld modSld sldOrd delMainMaster">
      <pc:chgData name="Sudarshan Chakravarthi" userId="9632d19e-631d-46a5-9e9a-d9cc496f17d0" providerId="ADAL" clId="{76E79A37-3268-42DA-B95A-A0555D918C30}" dt="2023-04-05T06:30:14.619" v="1916" actId="1076"/>
      <pc:docMkLst>
        <pc:docMk/>
      </pc:docMkLst>
      <pc:sldChg chg="addSp modSp add del">
        <pc:chgData name="Sudarshan Chakravarthi" userId="9632d19e-631d-46a5-9e9a-d9cc496f17d0" providerId="ADAL" clId="{76E79A37-3268-42DA-B95A-A0555D918C30}" dt="2023-03-23T13:19:29.194" v="1759"/>
        <pc:sldMkLst>
          <pc:docMk/>
          <pc:sldMk cId="2058101268" sldId="4212"/>
        </pc:sldMkLst>
        <pc:spChg chg="add mod">
          <ac:chgData name="Sudarshan Chakravarthi" userId="9632d19e-631d-46a5-9e9a-d9cc496f17d0" providerId="ADAL" clId="{76E79A37-3268-42DA-B95A-A0555D918C30}" dt="2023-03-23T12:57:39.499" v="1689"/>
          <ac:spMkLst>
            <pc:docMk/>
            <pc:sldMk cId="2058101268" sldId="4212"/>
            <ac:spMk id="3" creationId="{D48FDF48-E24D-564D-3BA0-19EBCC2E6F7E}"/>
          </ac:spMkLst>
        </pc:spChg>
      </pc:sldChg>
      <pc:sldChg chg="addSp modSp del">
        <pc:chgData name="Sudarshan Chakravarthi" userId="9632d19e-631d-46a5-9e9a-d9cc496f17d0" providerId="ADAL" clId="{76E79A37-3268-42DA-B95A-A0555D918C30}" dt="2023-03-23T13:04:07.450" v="1757" actId="47"/>
        <pc:sldMkLst>
          <pc:docMk/>
          <pc:sldMk cId="155766468" sldId="4216"/>
        </pc:sldMkLst>
        <pc:spChg chg="add mod">
          <ac:chgData name="Sudarshan Chakravarthi" userId="9632d19e-631d-46a5-9e9a-d9cc496f17d0" providerId="ADAL" clId="{76E79A37-3268-42DA-B95A-A0555D918C30}" dt="2023-03-23T12:57:42.357" v="1690"/>
          <ac:spMkLst>
            <pc:docMk/>
            <pc:sldMk cId="155766468" sldId="4216"/>
            <ac:spMk id="3" creationId="{98B97730-4B9D-8AE8-EB8B-1ABEA722B743}"/>
          </ac:spMkLst>
        </pc:spChg>
      </pc:sldChg>
      <pc:sldChg chg="addSp modSp add del mod">
        <pc:chgData name="Sudarshan Chakravarthi" userId="9632d19e-631d-46a5-9e9a-d9cc496f17d0" providerId="ADAL" clId="{76E79A37-3268-42DA-B95A-A0555D918C30}" dt="2023-03-23T13:19:29.194" v="1759"/>
        <pc:sldMkLst>
          <pc:docMk/>
          <pc:sldMk cId="3470099226" sldId="4219"/>
        </pc:sldMkLst>
        <pc:spChg chg="add mod">
          <ac:chgData name="Sudarshan Chakravarthi" userId="9632d19e-631d-46a5-9e9a-d9cc496f17d0" providerId="ADAL" clId="{76E79A37-3268-42DA-B95A-A0555D918C30}" dt="2023-03-23T12:57:53.519" v="1695" actId="20577"/>
          <ac:spMkLst>
            <pc:docMk/>
            <pc:sldMk cId="3470099226" sldId="4219"/>
            <ac:spMk id="3" creationId="{240613EC-D152-3665-EFA8-5A9B356976A1}"/>
          </ac:spMkLst>
        </pc:spChg>
      </pc:sldChg>
      <pc:sldChg chg="addSp modSp add del mod">
        <pc:chgData name="Sudarshan Chakravarthi" userId="9632d19e-631d-46a5-9e9a-d9cc496f17d0" providerId="ADAL" clId="{76E79A37-3268-42DA-B95A-A0555D918C30}" dt="2023-03-23T13:19:29.194" v="1759"/>
        <pc:sldMkLst>
          <pc:docMk/>
          <pc:sldMk cId="1495713330" sldId="4220"/>
        </pc:sldMkLst>
        <pc:spChg chg="add mod">
          <ac:chgData name="Sudarshan Chakravarthi" userId="9632d19e-631d-46a5-9e9a-d9cc496f17d0" providerId="ADAL" clId="{76E79A37-3268-42DA-B95A-A0555D918C30}" dt="2023-03-23T12:58:05.736" v="1700" actId="20577"/>
          <ac:spMkLst>
            <pc:docMk/>
            <pc:sldMk cId="1495713330" sldId="4220"/>
            <ac:spMk id="3" creationId="{55CDBC5E-F437-228F-3754-2A3AA09FF464}"/>
          </ac:spMkLst>
        </pc:spChg>
      </pc:sldChg>
      <pc:sldChg chg="addSp modSp add del">
        <pc:chgData name="Sudarshan Chakravarthi" userId="9632d19e-631d-46a5-9e9a-d9cc496f17d0" providerId="ADAL" clId="{76E79A37-3268-42DA-B95A-A0555D918C30}" dt="2023-03-23T13:19:29.194" v="1759"/>
        <pc:sldMkLst>
          <pc:docMk/>
          <pc:sldMk cId="3745045534" sldId="4222"/>
        </pc:sldMkLst>
        <pc:spChg chg="add mod">
          <ac:chgData name="Sudarshan Chakravarthi" userId="9632d19e-631d-46a5-9e9a-d9cc496f17d0" providerId="ADAL" clId="{76E79A37-3268-42DA-B95A-A0555D918C30}" dt="2023-03-23T12:58:18.842" v="1701"/>
          <ac:spMkLst>
            <pc:docMk/>
            <pc:sldMk cId="3745045534" sldId="4222"/>
            <ac:spMk id="3" creationId="{D5CA8760-7876-7F64-B53C-BFD09FDB08AD}"/>
          </ac:spMkLst>
        </pc:spChg>
      </pc:sldChg>
      <pc:sldChg chg="addSp modSp add del mod">
        <pc:chgData name="Sudarshan Chakravarthi" userId="9632d19e-631d-46a5-9e9a-d9cc496f17d0" providerId="ADAL" clId="{76E79A37-3268-42DA-B95A-A0555D918C30}" dt="2023-03-23T13:19:29.194" v="1759"/>
        <pc:sldMkLst>
          <pc:docMk/>
          <pc:sldMk cId="284487363" sldId="4225"/>
        </pc:sldMkLst>
        <pc:spChg chg="add mod">
          <ac:chgData name="Sudarshan Chakravarthi" userId="9632d19e-631d-46a5-9e9a-d9cc496f17d0" providerId="ADAL" clId="{76E79A37-3268-42DA-B95A-A0555D918C30}" dt="2023-03-23T12:58:51.688" v="1732" actId="6549"/>
          <ac:spMkLst>
            <pc:docMk/>
            <pc:sldMk cId="284487363" sldId="4225"/>
            <ac:spMk id="4" creationId="{E86EDD73-73A1-C1ED-02EF-FB690D5E2E8F}"/>
          </ac:spMkLst>
        </pc:spChg>
      </pc:sldChg>
      <pc:sldChg chg="add del">
        <pc:chgData name="Sudarshan Chakravarthi" userId="9632d19e-631d-46a5-9e9a-d9cc496f17d0" providerId="ADAL" clId="{76E79A37-3268-42DA-B95A-A0555D918C30}" dt="2023-03-23T13:19:29.194" v="1759"/>
        <pc:sldMkLst>
          <pc:docMk/>
          <pc:sldMk cId="1777480401" sldId="4226"/>
        </pc:sldMkLst>
      </pc:sldChg>
      <pc:sldChg chg="addSp modSp add del">
        <pc:chgData name="Sudarshan Chakravarthi" userId="9632d19e-631d-46a5-9e9a-d9cc496f17d0" providerId="ADAL" clId="{76E79A37-3268-42DA-B95A-A0555D918C30}" dt="2023-03-23T13:19:29.194" v="1759"/>
        <pc:sldMkLst>
          <pc:docMk/>
          <pc:sldMk cId="78392423" sldId="4228"/>
        </pc:sldMkLst>
        <pc:spChg chg="add mod">
          <ac:chgData name="Sudarshan Chakravarthi" userId="9632d19e-631d-46a5-9e9a-d9cc496f17d0" providerId="ADAL" clId="{76E79A37-3268-42DA-B95A-A0555D918C30}" dt="2023-03-23T13:00:12.051" v="1752"/>
          <ac:spMkLst>
            <pc:docMk/>
            <pc:sldMk cId="78392423" sldId="4228"/>
            <ac:spMk id="4" creationId="{E8298E13-CDF0-9C2E-3953-2AC854AD6C21}"/>
          </ac:spMkLst>
        </pc:spChg>
      </pc:sldChg>
      <pc:sldChg chg="addSp modSp add del">
        <pc:chgData name="Sudarshan Chakravarthi" userId="9632d19e-631d-46a5-9e9a-d9cc496f17d0" providerId="ADAL" clId="{76E79A37-3268-42DA-B95A-A0555D918C30}" dt="2023-03-23T13:19:29.194" v="1759"/>
        <pc:sldMkLst>
          <pc:docMk/>
          <pc:sldMk cId="3509716165" sldId="4229"/>
        </pc:sldMkLst>
        <pc:spChg chg="add mod">
          <ac:chgData name="Sudarshan Chakravarthi" userId="9632d19e-631d-46a5-9e9a-d9cc496f17d0" providerId="ADAL" clId="{76E79A37-3268-42DA-B95A-A0555D918C30}" dt="2023-03-23T13:00:33.497" v="1754"/>
          <ac:spMkLst>
            <pc:docMk/>
            <pc:sldMk cId="3509716165" sldId="4229"/>
            <ac:spMk id="3" creationId="{6EFBE596-00DE-5417-01AD-7EE5433D2EBA}"/>
          </ac:spMkLst>
        </pc:spChg>
      </pc:sldChg>
      <pc:sldChg chg="addSp modSp add del mod">
        <pc:chgData name="Sudarshan Chakravarthi" userId="9632d19e-631d-46a5-9e9a-d9cc496f17d0" providerId="ADAL" clId="{76E79A37-3268-42DA-B95A-A0555D918C30}" dt="2023-03-23T13:19:29.194" v="1759"/>
        <pc:sldMkLst>
          <pc:docMk/>
          <pc:sldMk cId="2445627982" sldId="4230"/>
        </pc:sldMkLst>
        <pc:spChg chg="add mod">
          <ac:chgData name="Sudarshan Chakravarthi" userId="9632d19e-631d-46a5-9e9a-d9cc496f17d0" providerId="ADAL" clId="{76E79A37-3268-42DA-B95A-A0555D918C30}" dt="2023-03-23T12:59:04.372" v="1741" actId="20577"/>
          <ac:spMkLst>
            <pc:docMk/>
            <pc:sldMk cId="2445627982" sldId="4230"/>
            <ac:spMk id="4" creationId="{3DE78C3C-FBD1-72FB-B098-BB8A85EFA302}"/>
          </ac:spMkLst>
        </pc:spChg>
      </pc:sldChg>
      <pc:sldChg chg="add del">
        <pc:chgData name="Sudarshan Chakravarthi" userId="9632d19e-631d-46a5-9e9a-d9cc496f17d0" providerId="ADAL" clId="{76E79A37-3268-42DA-B95A-A0555D918C30}" dt="2023-03-23T13:19:29.194" v="1759"/>
        <pc:sldMkLst>
          <pc:docMk/>
          <pc:sldMk cId="310649150" sldId="4231"/>
        </pc:sldMkLst>
      </pc:sldChg>
      <pc:sldChg chg="addSp modSp add del">
        <pc:chgData name="Sudarshan Chakravarthi" userId="9632d19e-631d-46a5-9e9a-d9cc496f17d0" providerId="ADAL" clId="{76E79A37-3268-42DA-B95A-A0555D918C30}" dt="2023-03-23T13:19:29.194" v="1759"/>
        <pc:sldMkLst>
          <pc:docMk/>
          <pc:sldMk cId="3808608602" sldId="4232"/>
        </pc:sldMkLst>
        <pc:spChg chg="add mod">
          <ac:chgData name="Sudarshan Chakravarthi" userId="9632d19e-631d-46a5-9e9a-d9cc496f17d0" providerId="ADAL" clId="{76E79A37-3268-42DA-B95A-A0555D918C30}" dt="2023-03-23T12:59:15.453" v="1742"/>
          <ac:spMkLst>
            <pc:docMk/>
            <pc:sldMk cId="3808608602" sldId="4232"/>
            <ac:spMk id="4" creationId="{677450DE-6EEE-B29B-904B-9661127D5160}"/>
          </ac:spMkLst>
        </pc:spChg>
      </pc:sldChg>
      <pc:sldChg chg="add del">
        <pc:chgData name="Sudarshan Chakravarthi" userId="9632d19e-631d-46a5-9e9a-d9cc496f17d0" providerId="ADAL" clId="{76E79A37-3268-42DA-B95A-A0555D918C30}" dt="2023-03-23T13:19:29.194" v="1759"/>
        <pc:sldMkLst>
          <pc:docMk/>
          <pc:sldMk cId="2824421007" sldId="4234"/>
        </pc:sldMkLst>
      </pc:sldChg>
      <pc:sldChg chg="addSp modSp add del mod">
        <pc:chgData name="Sudarshan Chakravarthi" userId="9632d19e-631d-46a5-9e9a-d9cc496f17d0" providerId="ADAL" clId="{76E79A37-3268-42DA-B95A-A0555D918C30}" dt="2023-03-23T13:19:29.194" v="1759"/>
        <pc:sldMkLst>
          <pc:docMk/>
          <pc:sldMk cId="3871821696" sldId="4235"/>
        </pc:sldMkLst>
        <pc:spChg chg="add mod">
          <ac:chgData name="Sudarshan Chakravarthi" userId="9632d19e-631d-46a5-9e9a-d9cc496f17d0" providerId="ADAL" clId="{76E79A37-3268-42DA-B95A-A0555D918C30}" dt="2023-03-23T12:59:46.988" v="1749" actId="20577"/>
          <ac:spMkLst>
            <pc:docMk/>
            <pc:sldMk cId="3871821696" sldId="4235"/>
            <ac:spMk id="4" creationId="{A5F161FE-3C41-B386-E0FB-CAF61C9C851A}"/>
          </ac:spMkLst>
        </pc:spChg>
      </pc:sldChg>
      <pc:sldChg chg="addSp modSp add del mod">
        <pc:chgData name="Sudarshan Chakravarthi" userId="9632d19e-631d-46a5-9e9a-d9cc496f17d0" providerId="ADAL" clId="{76E79A37-3268-42DA-B95A-A0555D918C30}" dt="2023-03-23T13:19:29.194" v="1759"/>
        <pc:sldMkLst>
          <pc:docMk/>
          <pc:sldMk cId="1659392497" sldId="4251"/>
        </pc:sldMkLst>
        <pc:spChg chg="add mod">
          <ac:chgData name="Sudarshan Chakravarthi" userId="9632d19e-631d-46a5-9e9a-d9cc496f17d0" providerId="ADAL" clId="{76E79A37-3268-42DA-B95A-A0555D918C30}" dt="2023-03-23T12:54:58.647" v="1663" actId="207"/>
          <ac:spMkLst>
            <pc:docMk/>
            <pc:sldMk cId="1659392497" sldId="4251"/>
            <ac:spMk id="4" creationId="{15524BAC-3DEB-59AC-207F-B590B651ED0D}"/>
          </ac:spMkLst>
        </pc:spChg>
      </pc:sldChg>
      <pc:sldChg chg="addSp modSp add del mod">
        <pc:chgData name="Sudarshan Chakravarthi" userId="9632d19e-631d-46a5-9e9a-d9cc496f17d0" providerId="ADAL" clId="{76E79A37-3268-42DA-B95A-A0555D918C30}" dt="2023-03-23T13:19:29.194" v="1759"/>
        <pc:sldMkLst>
          <pc:docMk/>
          <pc:sldMk cId="4231832348" sldId="4252"/>
        </pc:sldMkLst>
        <pc:spChg chg="add mod">
          <ac:chgData name="Sudarshan Chakravarthi" userId="9632d19e-631d-46a5-9e9a-d9cc496f17d0" providerId="ADAL" clId="{76E79A37-3268-42DA-B95A-A0555D918C30}" dt="2023-03-23T12:56:30.085" v="1673" actId="20577"/>
          <ac:spMkLst>
            <pc:docMk/>
            <pc:sldMk cId="4231832348" sldId="4252"/>
            <ac:spMk id="4" creationId="{36D65E21-3EE4-0BF6-4D96-F93EAFA380C3}"/>
          </ac:spMkLst>
        </pc:spChg>
      </pc:sldChg>
      <pc:sldChg chg="addSp modSp add del mod">
        <pc:chgData name="Sudarshan Chakravarthi" userId="9632d19e-631d-46a5-9e9a-d9cc496f17d0" providerId="ADAL" clId="{76E79A37-3268-42DA-B95A-A0555D918C30}" dt="2023-03-23T13:19:29.194" v="1759"/>
        <pc:sldMkLst>
          <pc:docMk/>
          <pc:sldMk cId="1268061230" sldId="4253"/>
        </pc:sldMkLst>
        <pc:spChg chg="add mod">
          <ac:chgData name="Sudarshan Chakravarthi" userId="9632d19e-631d-46a5-9e9a-d9cc496f17d0" providerId="ADAL" clId="{76E79A37-3268-42DA-B95A-A0555D918C30}" dt="2023-03-23T13:00:04.744" v="1751" actId="20577"/>
          <ac:spMkLst>
            <pc:docMk/>
            <pc:sldMk cId="1268061230" sldId="4253"/>
            <ac:spMk id="4" creationId="{FB9395B1-EAEA-17F3-0380-954E52243AE3}"/>
          </ac:spMkLst>
        </pc:spChg>
      </pc:sldChg>
      <pc:sldChg chg="addSp modSp add del">
        <pc:chgData name="Sudarshan Chakravarthi" userId="9632d19e-631d-46a5-9e9a-d9cc496f17d0" providerId="ADAL" clId="{76E79A37-3268-42DA-B95A-A0555D918C30}" dt="2023-03-23T13:19:29.194" v="1759"/>
        <pc:sldMkLst>
          <pc:docMk/>
          <pc:sldMk cId="2822205349" sldId="4254"/>
        </pc:sldMkLst>
        <pc:spChg chg="add mod">
          <ac:chgData name="Sudarshan Chakravarthi" userId="9632d19e-631d-46a5-9e9a-d9cc496f17d0" providerId="ADAL" clId="{76E79A37-3268-42DA-B95A-A0555D918C30}" dt="2023-03-23T12:56:42.717" v="1675"/>
          <ac:spMkLst>
            <pc:docMk/>
            <pc:sldMk cId="2822205349" sldId="4254"/>
            <ac:spMk id="4" creationId="{8A27C794-A017-3965-51C8-464A2BA426E3}"/>
          </ac:spMkLst>
        </pc:spChg>
      </pc:sldChg>
      <pc:sldChg chg="addSp modSp add del mod">
        <pc:chgData name="Sudarshan Chakravarthi" userId="9632d19e-631d-46a5-9e9a-d9cc496f17d0" providerId="ADAL" clId="{76E79A37-3268-42DA-B95A-A0555D918C30}" dt="2023-03-23T13:19:29.194" v="1759"/>
        <pc:sldMkLst>
          <pc:docMk/>
          <pc:sldMk cId="2888892022" sldId="4257"/>
        </pc:sldMkLst>
        <pc:spChg chg="add mod">
          <ac:chgData name="Sudarshan Chakravarthi" userId="9632d19e-631d-46a5-9e9a-d9cc496f17d0" providerId="ADAL" clId="{76E79A37-3268-42DA-B95A-A0555D918C30}" dt="2023-03-23T12:56:59.496" v="1678" actId="20577"/>
          <ac:spMkLst>
            <pc:docMk/>
            <pc:sldMk cId="2888892022" sldId="4257"/>
            <ac:spMk id="4" creationId="{C3EF7D5F-8865-823D-602A-E8AB01B46DF6}"/>
          </ac:spMkLst>
        </pc:spChg>
      </pc:sldChg>
      <pc:sldChg chg="addSp modSp add del">
        <pc:chgData name="Sudarshan Chakravarthi" userId="9632d19e-631d-46a5-9e9a-d9cc496f17d0" providerId="ADAL" clId="{76E79A37-3268-42DA-B95A-A0555D918C30}" dt="2023-03-23T13:19:29.194" v="1759"/>
        <pc:sldMkLst>
          <pc:docMk/>
          <pc:sldMk cId="3694093292" sldId="4258"/>
        </pc:sldMkLst>
        <pc:spChg chg="add mod">
          <ac:chgData name="Sudarshan Chakravarthi" userId="9632d19e-631d-46a5-9e9a-d9cc496f17d0" providerId="ADAL" clId="{76E79A37-3268-42DA-B95A-A0555D918C30}" dt="2023-03-23T12:57:04.576" v="1679"/>
          <ac:spMkLst>
            <pc:docMk/>
            <pc:sldMk cId="3694093292" sldId="4258"/>
            <ac:spMk id="4" creationId="{502052FB-0CFF-8F10-FA9A-51D1BA17D87E}"/>
          </ac:spMkLst>
        </pc:spChg>
      </pc:sldChg>
      <pc:sldChg chg="addSp modSp add del">
        <pc:chgData name="Sudarshan Chakravarthi" userId="9632d19e-631d-46a5-9e9a-d9cc496f17d0" providerId="ADAL" clId="{76E79A37-3268-42DA-B95A-A0555D918C30}" dt="2023-03-23T13:19:29.194" v="1759"/>
        <pc:sldMkLst>
          <pc:docMk/>
          <pc:sldMk cId="2924667156" sldId="4259"/>
        </pc:sldMkLst>
        <pc:spChg chg="add mod">
          <ac:chgData name="Sudarshan Chakravarthi" userId="9632d19e-631d-46a5-9e9a-d9cc496f17d0" providerId="ADAL" clId="{76E79A37-3268-42DA-B95A-A0555D918C30}" dt="2023-03-23T12:57:06.492" v="1680"/>
          <ac:spMkLst>
            <pc:docMk/>
            <pc:sldMk cId="2924667156" sldId="4259"/>
            <ac:spMk id="4" creationId="{4E977DE1-2B13-5269-0F8F-1ABAB096D916}"/>
          </ac:spMkLst>
        </pc:spChg>
      </pc:sldChg>
      <pc:sldChg chg="addSp modSp add del">
        <pc:chgData name="Sudarshan Chakravarthi" userId="9632d19e-631d-46a5-9e9a-d9cc496f17d0" providerId="ADAL" clId="{76E79A37-3268-42DA-B95A-A0555D918C30}" dt="2023-03-23T13:19:29.194" v="1759"/>
        <pc:sldMkLst>
          <pc:docMk/>
          <pc:sldMk cId="741184367" sldId="4260"/>
        </pc:sldMkLst>
        <pc:spChg chg="add mod">
          <ac:chgData name="Sudarshan Chakravarthi" userId="9632d19e-631d-46a5-9e9a-d9cc496f17d0" providerId="ADAL" clId="{76E79A37-3268-42DA-B95A-A0555D918C30}" dt="2023-03-23T12:57:08.597" v="1681"/>
          <ac:spMkLst>
            <pc:docMk/>
            <pc:sldMk cId="741184367" sldId="4260"/>
            <ac:spMk id="4" creationId="{C1397B42-2C8C-B2F6-5C31-97C1D34200E2}"/>
          </ac:spMkLst>
        </pc:spChg>
      </pc:sldChg>
      <pc:sldChg chg="addSp modSp add del mod">
        <pc:chgData name="Sudarshan Chakravarthi" userId="9632d19e-631d-46a5-9e9a-d9cc496f17d0" providerId="ADAL" clId="{76E79A37-3268-42DA-B95A-A0555D918C30}" dt="2023-03-23T13:19:29.194" v="1759"/>
        <pc:sldMkLst>
          <pc:docMk/>
          <pc:sldMk cId="3330381785" sldId="4261"/>
        </pc:sldMkLst>
        <pc:spChg chg="add mod">
          <ac:chgData name="Sudarshan Chakravarthi" userId="9632d19e-631d-46a5-9e9a-d9cc496f17d0" providerId="ADAL" clId="{76E79A37-3268-42DA-B95A-A0555D918C30}" dt="2023-03-23T12:57:21.410" v="1686" actId="6549"/>
          <ac:spMkLst>
            <pc:docMk/>
            <pc:sldMk cId="3330381785" sldId="4261"/>
            <ac:spMk id="4" creationId="{0C28DD65-3C55-565C-9C51-825A2133DF01}"/>
          </ac:spMkLst>
        </pc:spChg>
      </pc:sldChg>
      <pc:sldChg chg="addSp modSp add del">
        <pc:chgData name="Sudarshan Chakravarthi" userId="9632d19e-631d-46a5-9e9a-d9cc496f17d0" providerId="ADAL" clId="{76E79A37-3268-42DA-B95A-A0555D918C30}" dt="2023-03-23T13:19:29.194" v="1759"/>
        <pc:sldMkLst>
          <pc:docMk/>
          <pc:sldMk cId="3747872997" sldId="4262"/>
        </pc:sldMkLst>
        <pc:spChg chg="add mod">
          <ac:chgData name="Sudarshan Chakravarthi" userId="9632d19e-631d-46a5-9e9a-d9cc496f17d0" providerId="ADAL" clId="{76E79A37-3268-42DA-B95A-A0555D918C30}" dt="2023-03-23T12:57:34.029" v="1687"/>
          <ac:spMkLst>
            <pc:docMk/>
            <pc:sldMk cId="3747872997" sldId="4262"/>
            <ac:spMk id="4" creationId="{04371D9E-7143-2233-E44F-BF85305E52F1}"/>
          </ac:spMkLst>
        </pc:spChg>
      </pc:sldChg>
      <pc:sldChg chg="addSp modSp add del">
        <pc:chgData name="Sudarshan Chakravarthi" userId="9632d19e-631d-46a5-9e9a-d9cc496f17d0" providerId="ADAL" clId="{76E79A37-3268-42DA-B95A-A0555D918C30}" dt="2023-03-23T13:19:29.194" v="1759"/>
        <pc:sldMkLst>
          <pc:docMk/>
          <pc:sldMk cId="2870269982" sldId="4263"/>
        </pc:sldMkLst>
        <pc:spChg chg="add mod">
          <ac:chgData name="Sudarshan Chakravarthi" userId="9632d19e-631d-46a5-9e9a-d9cc496f17d0" providerId="ADAL" clId="{76E79A37-3268-42DA-B95A-A0555D918C30}" dt="2023-03-23T12:57:38.121" v="1688"/>
          <ac:spMkLst>
            <pc:docMk/>
            <pc:sldMk cId="2870269982" sldId="4263"/>
            <ac:spMk id="4" creationId="{6D59E46F-C426-67EE-AD82-C95E83C12DAD}"/>
          </ac:spMkLst>
        </pc:spChg>
      </pc:sldChg>
      <pc:sldChg chg="add">
        <pc:chgData name="Sudarshan Chakravarthi" userId="9632d19e-631d-46a5-9e9a-d9cc496f17d0" providerId="ADAL" clId="{76E79A37-3268-42DA-B95A-A0555D918C30}" dt="2023-03-23T12:45:21.957" v="1424"/>
        <pc:sldMkLst>
          <pc:docMk/>
          <pc:sldMk cId="2156799052" sldId="4330"/>
        </pc:sldMkLst>
      </pc:sldChg>
      <pc:sldChg chg="del">
        <pc:chgData name="Sudarshan Chakravarthi" userId="9632d19e-631d-46a5-9e9a-d9cc496f17d0" providerId="ADAL" clId="{76E79A37-3268-42DA-B95A-A0555D918C30}" dt="2023-03-23T12:45:15.795" v="1423" actId="2696"/>
        <pc:sldMkLst>
          <pc:docMk/>
          <pc:sldMk cId="2808061439" sldId="4330"/>
        </pc:sldMkLst>
      </pc:sldChg>
      <pc:sldChg chg="addSp modSp add del">
        <pc:chgData name="Sudarshan Chakravarthi" userId="9632d19e-631d-46a5-9e9a-d9cc496f17d0" providerId="ADAL" clId="{76E79A37-3268-42DA-B95A-A0555D918C30}" dt="2023-03-23T13:19:29.194" v="1759"/>
        <pc:sldMkLst>
          <pc:docMk/>
          <pc:sldMk cId="2953145738" sldId="4534"/>
        </pc:sldMkLst>
        <pc:spChg chg="add mod">
          <ac:chgData name="Sudarshan Chakravarthi" userId="9632d19e-631d-46a5-9e9a-d9cc496f17d0" providerId="ADAL" clId="{76E79A37-3268-42DA-B95A-A0555D918C30}" dt="2023-03-23T12:56:36.069" v="1674"/>
          <ac:spMkLst>
            <pc:docMk/>
            <pc:sldMk cId="2953145738" sldId="4534"/>
            <ac:spMk id="4" creationId="{CB8C3946-1F22-62B2-85CE-F8DB5DEFF813}"/>
          </ac:spMkLst>
        </pc:spChg>
      </pc:sldChg>
      <pc:sldChg chg="addSp modSp add del">
        <pc:chgData name="Sudarshan Chakravarthi" userId="9632d19e-631d-46a5-9e9a-d9cc496f17d0" providerId="ADAL" clId="{76E79A37-3268-42DA-B95A-A0555D918C30}" dt="2023-03-23T13:19:29.194" v="1759"/>
        <pc:sldMkLst>
          <pc:docMk/>
          <pc:sldMk cId="1652919126" sldId="4535"/>
        </pc:sldMkLst>
        <pc:spChg chg="add mod">
          <ac:chgData name="Sudarshan Chakravarthi" userId="9632d19e-631d-46a5-9e9a-d9cc496f17d0" providerId="ADAL" clId="{76E79A37-3268-42DA-B95A-A0555D918C30}" dt="2023-03-23T12:56:47.512" v="1676"/>
          <ac:spMkLst>
            <pc:docMk/>
            <pc:sldMk cId="1652919126" sldId="4535"/>
            <ac:spMk id="4" creationId="{8ADB9043-C528-753D-E2DB-AFAC35777FDB}"/>
          </ac:spMkLst>
        </pc:spChg>
      </pc:sldChg>
      <pc:sldChg chg="addSp modSp add del mod">
        <pc:chgData name="Sudarshan Chakravarthi" userId="9632d19e-631d-46a5-9e9a-d9cc496f17d0" providerId="ADAL" clId="{76E79A37-3268-42DA-B95A-A0555D918C30}" dt="2023-03-23T13:19:29.194" v="1759"/>
        <pc:sldMkLst>
          <pc:docMk/>
          <pc:sldMk cId="3831848483" sldId="4537"/>
        </pc:sldMkLst>
        <pc:spChg chg="add mod">
          <ac:chgData name="Sudarshan Chakravarthi" userId="9632d19e-631d-46a5-9e9a-d9cc496f17d0" providerId="ADAL" clId="{76E79A37-3268-42DA-B95A-A0555D918C30}" dt="2023-03-23T12:55:10.593" v="1665" actId="20577"/>
          <ac:spMkLst>
            <pc:docMk/>
            <pc:sldMk cId="3831848483" sldId="4537"/>
            <ac:spMk id="4" creationId="{3F696B43-0968-68FF-F55B-671349FEE55E}"/>
          </ac:spMkLst>
        </pc:spChg>
      </pc:sldChg>
      <pc:sldChg chg="addSp modSp add del">
        <pc:chgData name="Sudarshan Chakravarthi" userId="9632d19e-631d-46a5-9e9a-d9cc496f17d0" providerId="ADAL" clId="{76E79A37-3268-42DA-B95A-A0555D918C30}" dt="2023-03-23T13:19:29.194" v="1759"/>
        <pc:sldMkLst>
          <pc:docMk/>
          <pc:sldMk cId="4216718422" sldId="4538"/>
        </pc:sldMkLst>
        <pc:spChg chg="add mod">
          <ac:chgData name="Sudarshan Chakravarthi" userId="9632d19e-631d-46a5-9e9a-d9cc496f17d0" providerId="ADAL" clId="{76E79A37-3268-42DA-B95A-A0555D918C30}" dt="2023-03-23T12:55:18.538" v="1666"/>
          <ac:spMkLst>
            <pc:docMk/>
            <pc:sldMk cId="4216718422" sldId="4538"/>
            <ac:spMk id="4" creationId="{CFBAB95D-2C39-D56F-0FDD-42FDB09C8BE9}"/>
          </ac:spMkLst>
        </pc:spChg>
      </pc:sldChg>
      <pc:sldChg chg="addSp modSp add del">
        <pc:chgData name="Sudarshan Chakravarthi" userId="9632d19e-631d-46a5-9e9a-d9cc496f17d0" providerId="ADAL" clId="{76E79A37-3268-42DA-B95A-A0555D918C30}" dt="2023-03-23T13:19:29.194" v="1759"/>
        <pc:sldMkLst>
          <pc:docMk/>
          <pc:sldMk cId="327809402" sldId="4539"/>
        </pc:sldMkLst>
        <pc:spChg chg="add mod">
          <ac:chgData name="Sudarshan Chakravarthi" userId="9632d19e-631d-46a5-9e9a-d9cc496f17d0" providerId="ADAL" clId="{76E79A37-3268-42DA-B95A-A0555D918C30}" dt="2023-03-23T12:56:12.815" v="1667"/>
          <ac:spMkLst>
            <pc:docMk/>
            <pc:sldMk cId="327809402" sldId="4539"/>
            <ac:spMk id="4" creationId="{41172C57-1EA5-5D6F-812B-D52A812BD7DF}"/>
          </ac:spMkLst>
        </pc:spChg>
      </pc:sldChg>
      <pc:sldChg chg="addSp modSp add del">
        <pc:chgData name="Sudarshan Chakravarthi" userId="9632d19e-631d-46a5-9e9a-d9cc496f17d0" providerId="ADAL" clId="{76E79A37-3268-42DA-B95A-A0555D918C30}" dt="2023-03-23T13:19:29.194" v="1759"/>
        <pc:sldMkLst>
          <pc:docMk/>
          <pc:sldMk cId="3515747087" sldId="4540"/>
        </pc:sldMkLst>
        <pc:spChg chg="add mod">
          <ac:chgData name="Sudarshan Chakravarthi" userId="9632d19e-631d-46a5-9e9a-d9cc496f17d0" providerId="ADAL" clId="{76E79A37-3268-42DA-B95A-A0555D918C30}" dt="2023-03-23T12:56:16.247" v="1668"/>
          <ac:spMkLst>
            <pc:docMk/>
            <pc:sldMk cId="3515747087" sldId="4540"/>
            <ac:spMk id="4" creationId="{819FC15C-CCAA-5AF0-11AC-F2C74017EFB9}"/>
          </ac:spMkLst>
        </pc:spChg>
      </pc:sldChg>
      <pc:sldChg chg="ord">
        <pc:chgData name="Sudarshan Chakravarthi" userId="9632d19e-631d-46a5-9e9a-d9cc496f17d0" providerId="ADAL" clId="{76E79A37-3268-42DA-B95A-A0555D918C30}" dt="2023-03-23T07:51:59.677" v="3"/>
        <pc:sldMkLst>
          <pc:docMk/>
          <pc:sldMk cId="1497718699" sldId="4584"/>
        </pc:sldMkLst>
      </pc:sldChg>
      <pc:sldChg chg="ord">
        <pc:chgData name="Sudarshan Chakravarthi" userId="9632d19e-631d-46a5-9e9a-d9cc496f17d0" providerId="ADAL" clId="{76E79A37-3268-42DA-B95A-A0555D918C30}" dt="2023-03-23T07:52:02.098" v="5"/>
        <pc:sldMkLst>
          <pc:docMk/>
          <pc:sldMk cId="333191078" sldId="4585"/>
        </pc:sldMkLst>
      </pc:sldChg>
      <pc:sldChg chg="ord">
        <pc:chgData name="Sudarshan Chakravarthi" userId="9632d19e-631d-46a5-9e9a-d9cc496f17d0" providerId="ADAL" clId="{76E79A37-3268-42DA-B95A-A0555D918C30}" dt="2023-03-23T07:51:53.187" v="1"/>
        <pc:sldMkLst>
          <pc:docMk/>
          <pc:sldMk cId="1236313053" sldId="4586"/>
        </pc:sldMkLst>
      </pc:sldChg>
      <pc:sldChg chg="modSp mod">
        <pc:chgData name="Sudarshan Chakravarthi" userId="9632d19e-631d-46a5-9e9a-d9cc496f17d0" providerId="ADAL" clId="{76E79A37-3268-42DA-B95A-A0555D918C30}" dt="2023-03-23T07:52:24.663" v="7" actId="14100"/>
        <pc:sldMkLst>
          <pc:docMk/>
          <pc:sldMk cId="28880552" sldId="4590"/>
        </pc:sldMkLst>
        <pc:spChg chg="mod">
          <ac:chgData name="Sudarshan Chakravarthi" userId="9632d19e-631d-46a5-9e9a-d9cc496f17d0" providerId="ADAL" clId="{76E79A37-3268-42DA-B95A-A0555D918C30}" dt="2023-03-23T07:52:24.663" v="7" actId="14100"/>
          <ac:spMkLst>
            <pc:docMk/>
            <pc:sldMk cId="28880552" sldId="4590"/>
            <ac:spMk id="3" creationId="{92DFE87A-94FB-E25C-82CB-55B9F5576796}"/>
          </ac:spMkLst>
        </pc:spChg>
      </pc:sldChg>
      <pc:sldChg chg="addSp delSp modSp mod">
        <pc:chgData name="Sudarshan Chakravarthi" userId="9632d19e-631d-46a5-9e9a-d9cc496f17d0" providerId="ADAL" clId="{76E79A37-3268-42DA-B95A-A0555D918C30}" dt="2023-04-05T06:30:14.619" v="1916" actId="1076"/>
        <pc:sldMkLst>
          <pc:docMk/>
          <pc:sldMk cId="1982301847" sldId="4595"/>
        </pc:sldMkLst>
        <pc:spChg chg="add mod">
          <ac:chgData name="Sudarshan Chakravarthi" userId="9632d19e-631d-46a5-9e9a-d9cc496f17d0" providerId="ADAL" clId="{76E79A37-3268-42DA-B95A-A0555D918C30}" dt="2023-04-04T12:52:39.474" v="1903" actId="6549"/>
          <ac:spMkLst>
            <pc:docMk/>
            <pc:sldMk cId="1982301847" sldId="4595"/>
            <ac:spMk id="4" creationId="{0DEEF2C8-C4C7-6AEF-8679-D86D002077B2}"/>
          </ac:spMkLst>
        </pc:spChg>
        <pc:grpChg chg="add del mod">
          <ac:chgData name="Sudarshan Chakravarthi" userId="9632d19e-631d-46a5-9e9a-d9cc496f17d0" providerId="ADAL" clId="{76E79A37-3268-42DA-B95A-A0555D918C30}" dt="2023-04-04T12:58:27.732" v="1908" actId="478"/>
          <ac:grpSpMkLst>
            <pc:docMk/>
            <pc:sldMk cId="1982301847" sldId="4595"/>
            <ac:grpSpMk id="5" creationId="{AF7F4B7C-DBCA-B303-87F5-8193597E0E51}"/>
          </ac:grpSpMkLst>
        </pc:grpChg>
        <pc:picChg chg="mod">
          <ac:chgData name="Sudarshan Chakravarthi" userId="9632d19e-631d-46a5-9e9a-d9cc496f17d0" providerId="ADAL" clId="{76E79A37-3268-42DA-B95A-A0555D918C30}" dt="2023-04-04T12:49:26.408" v="1874" actId="164"/>
          <ac:picMkLst>
            <pc:docMk/>
            <pc:sldMk cId="1982301847" sldId="4595"/>
            <ac:picMk id="3" creationId="{21346532-8F8F-0236-062F-A3FBDD052B3F}"/>
          </ac:picMkLst>
        </pc:picChg>
        <pc:picChg chg="add mod">
          <ac:chgData name="Sudarshan Chakravarthi" userId="9632d19e-631d-46a5-9e9a-d9cc496f17d0" providerId="ADAL" clId="{76E79A37-3268-42DA-B95A-A0555D918C30}" dt="2023-04-05T06:30:14.619" v="1916" actId="1076"/>
          <ac:picMkLst>
            <pc:docMk/>
            <pc:sldMk cId="1982301847" sldId="4595"/>
            <ac:picMk id="3" creationId="{C912671A-F237-C4F7-A2CF-29FF451FE961}"/>
          </ac:picMkLst>
        </pc:picChg>
        <pc:picChg chg="add del mod">
          <ac:chgData name="Sudarshan Chakravarthi" userId="9632d19e-631d-46a5-9e9a-d9cc496f17d0" providerId="ADAL" clId="{76E79A37-3268-42DA-B95A-A0555D918C30}" dt="2023-04-05T06:30:11.882" v="1915" actId="478"/>
          <ac:picMkLst>
            <pc:docMk/>
            <pc:sldMk cId="1982301847" sldId="4595"/>
            <ac:picMk id="6" creationId="{A117B8BE-017B-0F07-1234-A1FEE190C8A3}"/>
          </ac:picMkLst>
        </pc:picChg>
      </pc:sldChg>
      <pc:sldChg chg="addSp delSp modSp mod ord">
        <pc:chgData name="Sudarshan Chakravarthi" userId="9632d19e-631d-46a5-9e9a-d9cc496f17d0" providerId="ADAL" clId="{76E79A37-3268-42DA-B95A-A0555D918C30}" dt="2023-03-23T12:51:58.116" v="1608" actId="1076"/>
        <pc:sldMkLst>
          <pc:docMk/>
          <pc:sldMk cId="3812540057" sldId="4596"/>
        </pc:sldMkLst>
        <pc:spChg chg="mod">
          <ac:chgData name="Sudarshan Chakravarthi" userId="9632d19e-631d-46a5-9e9a-d9cc496f17d0" providerId="ADAL" clId="{76E79A37-3268-42DA-B95A-A0555D918C30}" dt="2023-03-23T12:51:24.100" v="1604" actId="20577"/>
          <ac:spMkLst>
            <pc:docMk/>
            <pc:sldMk cId="3812540057" sldId="4596"/>
            <ac:spMk id="2" creationId="{745E312C-1151-2EBF-8248-81E49F3B91D7}"/>
          </ac:spMkLst>
        </pc:spChg>
        <pc:spChg chg="add del mod">
          <ac:chgData name="Sudarshan Chakravarthi" userId="9632d19e-631d-46a5-9e9a-d9cc496f17d0" providerId="ADAL" clId="{76E79A37-3268-42DA-B95A-A0555D918C30}" dt="2023-03-23T12:51:53.711" v="1606" actId="478"/>
          <ac:spMkLst>
            <pc:docMk/>
            <pc:sldMk cId="3812540057" sldId="4596"/>
            <ac:spMk id="3" creationId="{E5992BE6-8CA3-36E5-42D4-6C4C04564263}"/>
          </ac:spMkLst>
        </pc:spChg>
        <pc:spChg chg="add mod">
          <ac:chgData name="Sudarshan Chakravarthi" userId="9632d19e-631d-46a5-9e9a-d9cc496f17d0" providerId="ADAL" clId="{76E79A37-3268-42DA-B95A-A0555D918C30}" dt="2023-03-23T12:51:58.116" v="1608" actId="1076"/>
          <ac:spMkLst>
            <pc:docMk/>
            <pc:sldMk cId="3812540057" sldId="4596"/>
            <ac:spMk id="4" creationId="{0349801D-CA22-F6C3-F27F-F4E4E0DDDD8F}"/>
          </ac:spMkLst>
        </pc:spChg>
      </pc:sldChg>
      <pc:sldChg chg="addSp modSp mod">
        <pc:chgData name="Sudarshan Chakravarthi" userId="9632d19e-631d-46a5-9e9a-d9cc496f17d0" providerId="ADAL" clId="{76E79A37-3268-42DA-B95A-A0555D918C30}" dt="2023-04-04T12:52:30.992" v="1895" actId="6549"/>
        <pc:sldMkLst>
          <pc:docMk/>
          <pc:sldMk cId="3595854153" sldId="4597"/>
        </pc:sldMkLst>
        <pc:spChg chg="mod">
          <ac:chgData name="Sudarshan Chakravarthi" userId="9632d19e-631d-46a5-9e9a-d9cc496f17d0" providerId="ADAL" clId="{76E79A37-3268-42DA-B95A-A0555D918C30}" dt="2023-03-23T12:51:02.771" v="1589" actId="6549"/>
          <ac:spMkLst>
            <pc:docMk/>
            <pc:sldMk cId="3595854153" sldId="4597"/>
            <ac:spMk id="2" creationId="{745E312C-1151-2EBF-8248-81E49F3B91D7}"/>
          </ac:spMkLst>
        </pc:spChg>
        <pc:spChg chg="add mod">
          <ac:chgData name="Sudarshan Chakravarthi" userId="9632d19e-631d-46a5-9e9a-d9cc496f17d0" providerId="ADAL" clId="{76E79A37-3268-42DA-B95A-A0555D918C30}" dt="2023-04-04T12:52:30.992" v="1895" actId="6549"/>
          <ac:spMkLst>
            <pc:docMk/>
            <pc:sldMk cId="3595854153" sldId="4597"/>
            <ac:spMk id="3" creationId="{C26C7B97-F000-D206-21E2-8B34C5C1E972}"/>
          </ac:spMkLst>
        </pc:spChg>
        <pc:grpChg chg="add mod">
          <ac:chgData name="Sudarshan Chakravarthi" userId="9632d19e-631d-46a5-9e9a-d9cc496f17d0" providerId="ADAL" clId="{76E79A37-3268-42DA-B95A-A0555D918C30}" dt="2023-04-04T12:47:06.934" v="1858" actId="164"/>
          <ac:grpSpMkLst>
            <pc:docMk/>
            <pc:sldMk cId="3595854153" sldId="4597"/>
            <ac:grpSpMk id="5" creationId="{04B14979-E4B5-295E-B844-C94579A780CC}"/>
          </ac:grpSpMkLst>
        </pc:grpChg>
        <pc:picChg chg="mod">
          <ac:chgData name="Sudarshan Chakravarthi" userId="9632d19e-631d-46a5-9e9a-d9cc496f17d0" providerId="ADAL" clId="{76E79A37-3268-42DA-B95A-A0555D918C30}" dt="2023-04-04T12:47:06.934" v="1858" actId="164"/>
          <ac:picMkLst>
            <pc:docMk/>
            <pc:sldMk cId="3595854153" sldId="4597"/>
            <ac:picMk id="4" creationId="{C6AC45CA-DD80-AD70-ADBB-E6EF04686B62}"/>
          </ac:picMkLst>
        </pc:picChg>
      </pc:sldChg>
      <pc:sldChg chg="addSp delSp modSp mod">
        <pc:chgData name="Sudarshan Chakravarthi" userId="9632d19e-631d-46a5-9e9a-d9cc496f17d0" providerId="ADAL" clId="{76E79A37-3268-42DA-B95A-A0555D918C30}" dt="2023-03-23T12:48:51.569" v="1521" actId="20577"/>
        <pc:sldMkLst>
          <pc:docMk/>
          <pc:sldMk cId="1604135182" sldId="4598"/>
        </pc:sldMkLst>
        <pc:spChg chg="mod">
          <ac:chgData name="Sudarshan Chakravarthi" userId="9632d19e-631d-46a5-9e9a-d9cc496f17d0" providerId="ADAL" clId="{76E79A37-3268-42DA-B95A-A0555D918C30}" dt="2023-03-23T12:48:51.569" v="1521" actId="20577"/>
          <ac:spMkLst>
            <pc:docMk/>
            <pc:sldMk cId="1604135182" sldId="4598"/>
            <ac:spMk id="2" creationId="{745E312C-1151-2EBF-8248-81E49F3B91D7}"/>
          </ac:spMkLst>
        </pc:spChg>
        <pc:spChg chg="mod">
          <ac:chgData name="Sudarshan Chakravarthi" userId="9632d19e-631d-46a5-9e9a-d9cc496f17d0" providerId="ADAL" clId="{76E79A37-3268-42DA-B95A-A0555D918C30}" dt="2023-03-23T12:46:39.348" v="1436" actId="113"/>
          <ac:spMkLst>
            <pc:docMk/>
            <pc:sldMk cId="1604135182" sldId="4598"/>
            <ac:spMk id="18" creationId="{0B132E61-1D39-D2F8-CED5-9FD014F99FE3}"/>
          </ac:spMkLst>
        </pc:spChg>
        <pc:spChg chg="mod">
          <ac:chgData name="Sudarshan Chakravarthi" userId="9632d19e-631d-46a5-9e9a-d9cc496f17d0" providerId="ADAL" clId="{76E79A37-3268-42DA-B95A-A0555D918C30}" dt="2023-03-23T12:46:39.348" v="1436" actId="113"/>
          <ac:spMkLst>
            <pc:docMk/>
            <pc:sldMk cId="1604135182" sldId="4598"/>
            <ac:spMk id="19" creationId="{397FEB47-DC03-15A1-B2FA-F07869F30224}"/>
          </ac:spMkLst>
        </pc:spChg>
        <pc:spChg chg="mod">
          <ac:chgData name="Sudarshan Chakravarthi" userId="9632d19e-631d-46a5-9e9a-d9cc496f17d0" providerId="ADAL" clId="{76E79A37-3268-42DA-B95A-A0555D918C30}" dt="2023-03-23T12:46:12.644" v="1428" actId="207"/>
          <ac:spMkLst>
            <pc:docMk/>
            <pc:sldMk cId="1604135182" sldId="4598"/>
            <ac:spMk id="22" creationId="{FC9781B6-EC0F-39DA-4896-5ED14661CE36}"/>
          </ac:spMkLst>
        </pc:spChg>
        <pc:spChg chg="mod">
          <ac:chgData name="Sudarshan Chakravarthi" userId="9632d19e-631d-46a5-9e9a-d9cc496f17d0" providerId="ADAL" clId="{76E79A37-3268-42DA-B95A-A0555D918C30}" dt="2023-03-23T12:46:16.984" v="1429" actId="207"/>
          <ac:spMkLst>
            <pc:docMk/>
            <pc:sldMk cId="1604135182" sldId="4598"/>
            <ac:spMk id="23" creationId="{7D46346C-DCB1-FF88-5067-8A48D937C0AD}"/>
          </ac:spMkLst>
        </pc:spChg>
        <pc:spChg chg="add del mod">
          <ac:chgData name="Sudarshan Chakravarthi" userId="9632d19e-631d-46a5-9e9a-d9cc496f17d0" providerId="ADAL" clId="{76E79A37-3268-42DA-B95A-A0555D918C30}" dt="2023-03-23T12:47:53.698" v="1465" actId="478"/>
          <ac:spMkLst>
            <pc:docMk/>
            <pc:sldMk cId="1604135182" sldId="4598"/>
            <ac:spMk id="24" creationId="{0C16A927-E7C1-9EE9-B35E-590FDF002DB4}"/>
          </ac:spMkLst>
        </pc:spChg>
        <pc:spChg chg="add del mod">
          <ac:chgData name="Sudarshan Chakravarthi" userId="9632d19e-631d-46a5-9e9a-d9cc496f17d0" providerId="ADAL" clId="{76E79A37-3268-42DA-B95A-A0555D918C30}" dt="2023-03-23T12:47:54.926" v="1466" actId="478"/>
          <ac:spMkLst>
            <pc:docMk/>
            <pc:sldMk cId="1604135182" sldId="4598"/>
            <ac:spMk id="26" creationId="{E811E322-DB5E-00C6-63DA-076D8C618FAE}"/>
          </ac:spMkLst>
        </pc:spChg>
        <pc:spChg chg="add del mod">
          <ac:chgData name="Sudarshan Chakravarthi" userId="9632d19e-631d-46a5-9e9a-d9cc496f17d0" providerId="ADAL" clId="{76E79A37-3268-42DA-B95A-A0555D918C30}" dt="2023-03-23T12:47:55.557" v="1467" actId="478"/>
          <ac:spMkLst>
            <pc:docMk/>
            <pc:sldMk cId="1604135182" sldId="4598"/>
            <ac:spMk id="27" creationId="{533F8D47-E3DC-DBF0-21E4-693C8DA4B9CE}"/>
          </ac:spMkLst>
        </pc:spChg>
        <pc:spChg chg="add mod">
          <ac:chgData name="Sudarshan Chakravarthi" userId="9632d19e-631d-46a5-9e9a-d9cc496f17d0" providerId="ADAL" clId="{76E79A37-3268-42DA-B95A-A0555D918C30}" dt="2023-03-23T12:47:49.941" v="1464" actId="1076"/>
          <ac:spMkLst>
            <pc:docMk/>
            <pc:sldMk cId="1604135182" sldId="4598"/>
            <ac:spMk id="28" creationId="{61592FCB-5FBE-9232-0131-7E5AC377E75D}"/>
          </ac:spMkLst>
        </pc:spChg>
        <pc:spChg chg="add mod">
          <ac:chgData name="Sudarshan Chakravarthi" userId="9632d19e-631d-46a5-9e9a-d9cc496f17d0" providerId="ADAL" clId="{76E79A37-3268-42DA-B95A-A0555D918C30}" dt="2023-03-23T12:47:46.994" v="1463" actId="1076"/>
          <ac:spMkLst>
            <pc:docMk/>
            <pc:sldMk cId="1604135182" sldId="4598"/>
            <ac:spMk id="30" creationId="{97290D15-2B3A-AE6B-43B1-165A31A1FE6F}"/>
          </ac:spMkLst>
        </pc:spChg>
        <pc:spChg chg="add mod">
          <ac:chgData name="Sudarshan Chakravarthi" userId="9632d19e-631d-46a5-9e9a-d9cc496f17d0" providerId="ADAL" clId="{76E79A37-3268-42DA-B95A-A0555D918C30}" dt="2023-03-23T12:47:43.896" v="1462" actId="1076"/>
          <ac:spMkLst>
            <pc:docMk/>
            <pc:sldMk cId="1604135182" sldId="4598"/>
            <ac:spMk id="31" creationId="{A06B738A-8B0B-D84D-8722-A9CDEFA3A5E0}"/>
          </ac:spMkLst>
        </pc:spChg>
        <pc:spChg chg="add mod">
          <ac:chgData name="Sudarshan Chakravarthi" userId="9632d19e-631d-46a5-9e9a-d9cc496f17d0" providerId="ADAL" clId="{76E79A37-3268-42DA-B95A-A0555D918C30}" dt="2023-03-23T12:47:38.826" v="1461" actId="1076"/>
          <ac:spMkLst>
            <pc:docMk/>
            <pc:sldMk cId="1604135182" sldId="4598"/>
            <ac:spMk id="32" creationId="{4690BEE8-EA2D-5490-4A58-7505A61997BC}"/>
          </ac:spMkLst>
        </pc:spChg>
        <pc:spChg chg="add mod">
          <ac:chgData name="Sudarshan Chakravarthi" userId="9632d19e-631d-46a5-9e9a-d9cc496f17d0" providerId="ADAL" clId="{76E79A37-3268-42DA-B95A-A0555D918C30}" dt="2023-03-23T12:47:34.768" v="1460" actId="1076"/>
          <ac:spMkLst>
            <pc:docMk/>
            <pc:sldMk cId="1604135182" sldId="4598"/>
            <ac:spMk id="34" creationId="{36A8A544-9359-36FF-405B-36CB5A4601A1}"/>
          </ac:spMkLst>
        </pc:spChg>
        <pc:spChg chg="add mod">
          <ac:chgData name="Sudarshan Chakravarthi" userId="9632d19e-631d-46a5-9e9a-d9cc496f17d0" providerId="ADAL" clId="{76E79A37-3268-42DA-B95A-A0555D918C30}" dt="2023-03-23T12:47:31.837" v="1459" actId="1076"/>
          <ac:spMkLst>
            <pc:docMk/>
            <pc:sldMk cId="1604135182" sldId="4598"/>
            <ac:spMk id="35" creationId="{F827D50E-61E0-3D8B-2EB2-167705DDA6CF}"/>
          </ac:spMkLst>
        </pc:spChg>
        <pc:spChg chg="add mod">
          <ac:chgData name="Sudarshan Chakravarthi" userId="9632d19e-631d-46a5-9e9a-d9cc496f17d0" providerId="ADAL" clId="{76E79A37-3268-42DA-B95A-A0555D918C30}" dt="2023-03-23T12:47:29.271" v="1458" actId="1076"/>
          <ac:spMkLst>
            <pc:docMk/>
            <pc:sldMk cId="1604135182" sldId="4598"/>
            <ac:spMk id="36" creationId="{3D395D78-0BCE-73F1-B8CA-46D20DDFEB0A}"/>
          </ac:spMkLst>
        </pc:spChg>
        <pc:spChg chg="add mod">
          <ac:chgData name="Sudarshan Chakravarthi" userId="9632d19e-631d-46a5-9e9a-d9cc496f17d0" providerId="ADAL" clId="{76E79A37-3268-42DA-B95A-A0555D918C30}" dt="2023-03-23T12:47:24.779" v="1457" actId="1076"/>
          <ac:spMkLst>
            <pc:docMk/>
            <pc:sldMk cId="1604135182" sldId="4598"/>
            <ac:spMk id="37" creationId="{1D04C4B8-8437-3619-6A02-FA452D8328EB}"/>
          </ac:spMkLst>
        </pc:spChg>
        <pc:spChg chg="add mod">
          <ac:chgData name="Sudarshan Chakravarthi" userId="9632d19e-631d-46a5-9e9a-d9cc496f17d0" providerId="ADAL" clId="{76E79A37-3268-42DA-B95A-A0555D918C30}" dt="2023-03-23T12:47:21.441" v="1456" actId="1076"/>
          <ac:spMkLst>
            <pc:docMk/>
            <pc:sldMk cId="1604135182" sldId="4598"/>
            <ac:spMk id="38" creationId="{D5D0C018-65DE-6F87-CA91-48D296F8291D}"/>
          </ac:spMkLst>
        </pc:spChg>
        <pc:spChg chg="add mod">
          <ac:chgData name="Sudarshan Chakravarthi" userId="9632d19e-631d-46a5-9e9a-d9cc496f17d0" providerId="ADAL" clId="{76E79A37-3268-42DA-B95A-A0555D918C30}" dt="2023-03-23T12:47:18.719" v="1455" actId="1076"/>
          <ac:spMkLst>
            <pc:docMk/>
            <pc:sldMk cId="1604135182" sldId="4598"/>
            <ac:spMk id="39" creationId="{687E6E45-064C-B18C-BDD7-64636283CF5E}"/>
          </ac:spMkLst>
        </pc:spChg>
        <pc:spChg chg="add mod">
          <ac:chgData name="Sudarshan Chakravarthi" userId="9632d19e-631d-46a5-9e9a-d9cc496f17d0" providerId="ADAL" clId="{76E79A37-3268-42DA-B95A-A0555D918C30}" dt="2023-03-23T12:47:16.471" v="1454" actId="1076"/>
          <ac:spMkLst>
            <pc:docMk/>
            <pc:sldMk cId="1604135182" sldId="4598"/>
            <ac:spMk id="40" creationId="{C4F5E7FE-4E14-D670-07FB-36B7A1F64C72}"/>
          </ac:spMkLst>
        </pc:spChg>
        <pc:picChg chg="mod">
          <ac:chgData name="Sudarshan Chakravarthi" userId="9632d19e-631d-46a5-9e9a-d9cc496f17d0" providerId="ADAL" clId="{76E79A37-3268-42DA-B95A-A0555D918C30}" dt="2023-03-23T12:48:19.529" v="1483" actId="1076"/>
          <ac:picMkLst>
            <pc:docMk/>
            <pc:sldMk cId="1604135182" sldId="4598"/>
            <ac:picMk id="5122" creationId="{66A56E70-0DE1-4E58-07DE-05D3054E89F2}"/>
          </ac:picMkLst>
        </pc:picChg>
      </pc:sldChg>
      <pc:sldChg chg="del">
        <pc:chgData name="Sudarshan Chakravarthi" userId="9632d19e-631d-46a5-9e9a-d9cc496f17d0" providerId="ADAL" clId="{76E79A37-3268-42DA-B95A-A0555D918C30}" dt="2023-03-23T12:49:09.295" v="1522" actId="47"/>
        <pc:sldMkLst>
          <pc:docMk/>
          <pc:sldMk cId="900395016" sldId="4599"/>
        </pc:sldMkLst>
      </pc:sldChg>
      <pc:sldChg chg="delSp modSp mod">
        <pc:chgData name="Sudarshan Chakravarthi" userId="9632d19e-631d-46a5-9e9a-d9cc496f17d0" providerId="ADAL" clId="{76E79A37-3268-42DA-B95A-A0555D918C30}" dt="2023-03-23T12:52:46.316" v="1615" actId="478"/>
        <pc:sldMkLst>
          <pc:docMk/>
          <pc:sldMk cId="4113552061" sldId="4600"/>
        </pc:sldMkLst>
        <pc:picChg chg="del mod">
          <ac:chgData name="Sudarshan Chakravarthi" userId="9632d19e-631d-46a5-9e9a-d9cc496f17d0" providerId="ADAL" clId="{76E79A37-3268-42DA-B95A-A0555D918C30}" dt="2023-03-23T12:52:46.316" v="1615" actId="478"/>
          <ac:picMkLst>
            <pc:docMk/>
            <pc:sldMk cId="4113552061" sldId="4600"/>
            <ac:picMk id="2" creationId="{BB822CEC-910C-B8AB-17FD-563A06081A65}"/>
          </ac:picMkLst>
        </pc:picChg>
      </pc:sldChg>
      <pc:sldChg chg="delSp modSp mod">
        <pc:chgData name="Sudarshan Chakravarthi" userId="9632d19e-631d-46a5-9e9a-d9cc496f17d0" providerId="ADAL" clId="{76E79A37-3268-42DA-B95A-A0555D918C30}" dt="2023-03-23T12:53:26.481" v="1617" actId="478"/>
        <pc:sldMkLst>
          <pc:docMk/>
          <pc:sldMk cId="699131560" sldId="4605"/>
        </pc:sldMkLst>
        <pc:picChg chg="del mod">
          <ac:chgData name="Sudarshan Chakravarthi" userId="9632d19e-631d-46a5-9e9a-d9cc496f17d0" providerId="ADAL" clId="{76E79A37-3268-42DA-B95A-A0555D918C30}" dt="2023-03-23T12:53:26.481" v="1617" actId="478"/>
          <ac:picMkLst>
            <pc:docMk/>
            <pc:sldMk cId="699131560" sldId="4605"/>
            <ac:picMk id="2" creationId="{BB822CEC-910C-B8AB-17FD-563A06081A65}"/>
          </ac:picMkLst>
        </pc:picChg>
      </pc:sldChg>
      <pc:sldChg chg="addSp modSp mod">
        <pc:chgData name="Sudarshan Chakravarthi" userId="9632d19e-631d-46a5-9e9a-d9cc496f17d0" providerId="ADAL" clId="{76E79A37-3268-42DA-B95A-A0555D918C30}" dt="2023-03-23T07:53:02.180" v="20" actId="20577"/>
        <pc:sldMkLst>
          <pc:docMk/>
          <pc:sldMk cId="175481642" sldId="4608"/>
        </pc:sldMkLst>
        <pc:spChg chg="add mod">
          <ac:chgData name="Sudarshan Chakravarthi" userId="9632d19e-631d-46a5-9e9a-d9cc496f17d0" providerId="ADAL" clId="{76E79A37-3268-42DA-B95A-A0555D918C30}" dt="2023-03-23T07:53:02.180" v="20" actId="20577"/>
          <ac:spMkLst>
            <pc:docMk/>
            <pc:sldMk cId="175481642" sldId="4608"/>
            <ac:spMk id="2" creationId="{8C59AC60-BF4E-FEB7-B7D6-592CFEECBF65}"/>
          </ac:spMkLst>
        </pc:spChg>
      </pc:sldChg>
      <pc:sldChg chg="addSp modSp new mod">
        <pc:chgData name="Sudarshan Chakravarthi" userId="9632d19e-631d-46a5-9e9a-d9cc496f17d0" providerId="ADAL" clId="{76E79A37-3268-42DA-B95A-A0555D918C30}" dt="2023-03-23T12:44:08.648" v="1422" actId="20577"/>
        <pc:sldMkLst>
          <pc:docMk/>
          <pc:sldMk cId="329972485" sldId="4610"/>
        </pc:sldMkLst>
        <pc:spChg chg="add mod">
          <ac:chgData name="Sudarshan Chakravarthi" userId="9632d19e-631d-46a5-9e9a-d9cc496f17d0" providerId="ADAL" clId="{76E79A37-3268-42DA-B95A-A0555D918C30}" dt="2023-03-23T12:32:27.434" v="40" actId="20577"/>
          <ac:spMkLst>
            <pc:docMk/>
            <pc:sldMk cId="329972485" sldId="4610"/>
            <ac:spMk id="3" creationId="{DDC066DF-FEE5-80DB-7A71-6549D7DF699E}"/>
          </ac:spMkLst>
        </pc:spChg>
        <pc:spChg chg="add mod">
          <ac:chgData name="Sudarshan Chakravarthi" userId="9632d19e-631d-46a5-9e9a-d9cc496f17d0" providerId="ADAL" clId="{76E79A37-3268-42DA-B95A-A0555D918C30}" dt="2023-03-23T12:32:15.378" v="25"/>
          <ac:spMkLst>
            <pc:docMk/>
            <pc:sldMk cId="329972485" sldId="4610"/>
            <ac:spMk id="5" creationId="{66C8E758-9DDD-308C-48E8-282F4AA809F7}"/>
          </ac:spMkLst>
        </pc:spChg>
        <pc:spChg chg="add mod">
          <ac:chgData name="Sudarshan Chakravarthi" userId="9632d19e-631d-46a5-9e9a-d9cc496f17d0" providerId="ADAL" clId="{76E79A37-3268-42DA-B95A-A0555D918C30}" dt="2023-03-23T12:44:08.648" v="1422" actId="20577"/>
          <ac:spMkLst>
            <pc:docMk/>
            <pc:sldMk cId="329972485" sldId="4610"/>
            <ac:spMk id="6" creationId="{26F50A47-E8C6-84E2-1C0F-AFDC0EFE8718}"/>
          </ac:spMkLst>
        </pc:spChg>
        <pc:picChg chg="add mod">
          <ac:chgData name="Sudarshan Chakravarthi" userId="9632d19e-631d-46a5-9e9a-d9cc496f17d0" providerId="ADAL" clId="{76E79A37-3268-42DA-B95A-A0555D918C30}" dt="2023-03-23T12:31:33.450" v="24" actId="1076"/>
          <ac:picMkLst>
            <pc:docMk/>
            <pc:sldMk cId="329972485" sldId="4610"/>
            <ac:picMk id="2" creationId="{16DBC016-E64D-11B2-6E64-5300300A9CEA}"/>
          </ac:picMkLst>
        </pc:picChg>
        <pc:picChg chg="add mod">
          <ac:chgData name="Sudarshan Chakravarthi" userId="9632d19e-631d-46a5-9e9a-d9cc496f17d0" providerId="ADAL" clId="{76E79A37-3268-42DA-B95A-A0555D918C30}" dt="2023-03-23T12:32:15.378" v="25"/>
          <ac:picMkLst>
            <pc:docMk/>
            <pc:sldMk cId="329972485" sldId="4610"/>
            <ac:picMk id="4" creationId="{9CB3E954-694A-F544-6E08-EE454FF0B75A}"/>
          </ac:picMkLst>
        </pc:picChg>
      </pc:sldChg>
      <pc:sldChg chg="add">
        <pc:chgData name="Sudarshan Chakravarthi" userId="9632d19e-631d-46a5-9e9a-d9cc496f17d0" providerId="ADAL" clId="{76E79A37-3268-42DA-B95A-A0555D918C30}" dt="2023-03-23T13:19:29.194" v="1759"/>
        <pc:sldMkLst>
          <pc:docMk/>
          <pc:sldMk cId="1075915707" sldId="4611"/>
        </pc:sldMkLst>
      </pc:sldChg>
      <pc:sldChg chg="new del">
        <pc:chgData name="Sudarshan Chakravarthi" userId="9632d19e-631d-46a5-9e9a-d9cc496f17d0" providerId="ADAL" clId="{76E79A37-3268-42DA-B95A-A0555D918C30}" dt="2023-03-23T12:50:11.115" v="1551" actId="47"/>
        <pc:sldMkLst>
          <pc:docMk/>
          <pc:sldMk cId="3030888935" sldId="4611"/>
        </pc:sldMkLst>
      </pc:sldChg>
      <pc:sldChg chg="new del">
        <pc:chgData name="Sudarshan Chakravarthi" userId="9632d19e-631d-46a5-9e9a-d9cc496f17d0" providerId="ADAL" clId="{76E79A37-3268-42DA-B95A-A0555D918C30}" dt="2023-03-23T12:50:11.115" v="1551" actId="47"/>
        <pc:sldMkLst>
          <pc:docMk/>
          <pc:sldMk cId="1660537821" sldId="4612"/>
        </pc:sldMkLst>
      </pc:sldChg>
      <pc:sldChg chg="new del">
        <pc:chgData name="Sudarshan Chakravarthi" userId="9632d19e-631d-46a5-9e9a-d9cc496f17d0" providerId="ADAL" clId="{76E79A37-3268-42DA-B95A-A0555D918C30}" dt="2023-03-23T12:50:11.115" v="1551" actId="47"/>
        <pc:sldMkLst>
          <pc:docMk/>
          <pc:sldMk cId="11075200" sldId="4613"/>
        </pc:sldMkLst>
      </pc:sldChg>
      <pc:sldChg chg="new del">
        <pc:chgData name="Sudarshan Chakravarthi" userId="9632d19e-631d-46a5-9e9a-d9cc496f17d0" providerId="ADAL" clId="{76E79A37-3268-42DA-B95A-A0555D918C30}" dt="2023-03-23T12:50:11.115" v="1551" actId="47"/>
        <pc:sldMkLst>
          <pc:docMk/>
          <pc:sldMk cId="641394752" sldId="4614"/>
        </pc:sldMkLst>
      </pc:sldChg>
      <pc:sldChg chg="new del">
        <pc:chgData name="Sudarshan Chakravarthi" userId="9632d19e-631d-46a5-9e9a-d9cc496f17d0" providerId="ADAL" clId="{76E79A37-3268-42DA-B95A-A0555D918C30}" dt="2023-03-23T12:50:11.115" v="1551" actId="47"/>
        <pc:sldMkLst>
          <pc:docMk/>
          <pc:sldMk cId="1383063375" sldId="4615"/>
        </pc:sldMkLst>
      </pc:sldChg>
      <pc:sldChg chg="new del">
        <pc:chgData name="Sudarshan Chakravarthi" userId="9632d19e-631d-46a5-9e9a-d9cc496f17d0" providerId="ADAL" clId="{76E79A37-3268-42DA-B95A-A0555D918C30}" dt="2023-03-23T12:50:11.115" v="1551" actId="47"/>
        <pc:sldMkLst>
          <pc:docMk/>
          <pc:sldMk cId="2998503246" sldId="4616"/>
        </pc:sldMkLst>
      </pc:sldChg>
      <pc:sldChg chg="new del">
        <pc:chgData name="Sudarshan Chakravarthi" userId="9632d19e-631d-46a5-9e9a-d9cc496f17d0" providerId="ADAL" clId="{76E79A37-3268-42DA-B95A-A0555D918C30}" dt="2023-03-23T12:50:11.115" v="1551" actId="47"/>
        <pc:sldMkLst>
          <pc:docMk/>
          <pc:sldMk cId="4141572352" sldId="4617"/>
        </pc:sldMkLst>
      </pc:sldChg>
      <pc:sldChg chg="new del">
        <pc:chgData name="Sudarshan Chakravarthi" userId="9632d19e-631d-46a5-9e9a-d9cc496f17d0" providerId="ADAL" clId="{76E79A37-3268-42DA-B95A-A0555D918C30}" dt="2023-03-23T12:50:11.115" v="1551" actId="47"/>
        <pc:sldMkLst>
          <pc:docMk/>
          <pc:sldMk cId="620302979" sldId="4618"/>
        </pc:sldMkLst>
      </pc:sldChg>
      <pc:sldChg chg="new del">
        <pc:chgData name="Sudarshan Chakravarthi" userId="9632d19e-631d-46a5-9e9a-d9cc496f17d0" providerId="ADAL" clId="{76E79A37-3268-42DA-B95A-A0555D918C30}" dt="2023-03-23T12:50:11.115" v="1551" actId="47"/>
        <pc:sldMkLst>
          <pc:docMk/>
          <pc:sldMk cId="892923481" sldId="4619"/>
        </pc:sldMkLst>
      </pc:sldChg>
      <pc:sldChg chg="new del">
        <pc:chgData name="Sudarshan Chakravarthi" userId="9632d19e-631d-46a5-9e9a-d9cc496f17d0" providerId="ADAL" clId="{76E79A37-3268-42DA-B95A-A0555D918C30}" dt="2023-03-23T12:50:11.115" v="1551" actId="47"/>
        <pc:sldMkLst>
          <pc:docMk/>
          <pc:sldMk cId="3612335499" sldId="4620"/>
        </pc:sldMkLst>
      </pc:sldChg>
      <pc:sldChg chg="new del">
        <pc:chgData name="Sudarshan Chakravarthi" userId="9632d19e-631d-46a5-9e9a-d9cc496f17d0" providerId="ADAL" clId="{76E79A37-3268-42DA-B95A-A0555D918C30}" dt="2023-03-23T12:50:11.115" v="1551" actId="47"/>
        <pc:sldMkLst>
          <pc:docMk/>
          <pc:sldMk cId="4210547485" sldId="4621"/>
        </pc:sldMkLst>
      </pc:sldChg>
      <pc:sldChg chg="new del">
        <pc:chgData name="Sudarshan Chakravarthi" userId="9632d19e-631d-46a5-9e9a-d9cc496f17d0" providerId="ADAL" clId="{76E79A37-3268-42DA-B95A-A0555D918C30}" dt="2023-03-23T12:50:11.115" v="1551" actId="47"/>
        <pc:sldMkLst>
          <pc:docMk/>
          <pc:sldMk cId="2910077456" sldId="4622"/>
        </pc:sldMkLst>
      </pc:sldChg>
      <pc:sldChg chg="new del">
        <pc:chgData name="Sudarshan Chakravarthi" userId="9632d19e-631d-46a5-9e9a-d9cc496f17d0" providerId="ADAL" clId="{76E79A37-3268-42DA-B95A-A0555D918C30}" dt="2023-03-23T12:50:11.115" v="1551" actId="47"/>
        <pc:sldMkLst>
          <pc:docMk/>
          <pc:sldMk cId="1404065590" sldId="4623"/>
        </pc:sldMkLst>
      </pc:sldChg>
      <pc:sldChg chg="new del">
        <pc:chgData name="Sudarshan Chakravarthi" userId="9632d19e-631d-46a5-9e9a-d9cc496f17d0" providerId="ADAL" clId="{76E79A37-3268-42DA-B95A-A0555D918C30}" dt="2023-03-23T12:50:11.115" v="1551" actId="47"/>
        <pc:sldMkLst>
          <pc:docMk/>
          <pc:sldMk cId="1468170183" sldId="4624"/>
        </pc:sldMkLst>
      </pc:sldChg>
      <pc:sldChg chg="new del">
        <pc:chgData name="Sudarshan Chakravarthi" userId="9632d19e-631d-46a5-9e9a-d9cc496f17d0" providerId="ADAL" clId="{76E79A37-3268-42DA-B95A-A0555D918C30}" dt="2023-03-23T12:50:11.115" v="1551" actId="47"/>
        <pc:sldMkLst>
          <pc:docMk/>
          <pc:sldMk cId="2764081450" sldId="4625"/>
        </pc:sldMkLst>
      </pc:sldChg>
      <pc:sldChg chg="new del">
        <pc:chgData name="Sudarshan Chakravarthi" userId="9632d19e-631d-46a5-9e9a-d9cc496f17d0" providerId="ADAL" clId="{76E79A37-3268-42DA-B95A-A0555D918C30}" dt="2023-03-23T12:50:11.115" v="1551" actId="47"/>
        <pc:sldMkLst>
          <pc:docMk/>
          <pc:sldMk cId="3471325324" sldId="4626"/>
        </pc:sldMkLst>
      </pc:sldChg>
      <pc:sldChg chg="new del">
        <pc:chgData name="Sudarshan Chakravarthi" userId="9632d19e-631d-46a5-9e9a-d9cc496f17d0" providerId="ADAL" clId="{76E79A37-3268-42DA-B95A-A0555D918C30}" dt="2023-03-23T12:50:11.115" v="1551" actId="47"/>
        <pc:sldMkLst>
          <pc:docMk/>
          <pc:sldMk cId="1562800523" sldId="4627"/>
        </pc:sldMkLst>
      </pc:sldChg>
      <pc:sldChg chg="new del">
        <pc:chgData name="Sudarshan Chakravarthi" userId="9632d19e-631d-46a5-9e9a-d9cc496f17d0" providerId="ADAL" clId="{76E79A37-3268-42DA-B95A-A0555D918C30}" dt="2023-03-23T12:50:11.115" v="1551" actId="47"/>
        <pc:sldMkLst>
          <pc:docMk/>
          <pc:sldMk cId="2650863354" sldId="4628"/>
        </pc:sldMkLst>
      </pc:sldChg>
      <pc:sldChg chg="new del">
        <pc:chgData name="Sudarshan Chakravarthi" userId="9632d19e-631d-46a5-9e9a-d9cc496f17d0" providerId="ADAL" clId="{76E79A37-3268-42DA-B95A-A0555D918C30}" dt="2023-03-23T12:50:01.841" v="1550" actId="680"/>
        <pc:sldMkLst>
          <pc:docMk/>
          <pc:sldMk cId="4244069108" sldId="4629"/>
        </pc:sldMkLst>
      </pc:sldChg>
      <pc:sldChg chg="new del">
        <pc:chgData name="Sudarshan Chakravarthi" userId="9632d19e-631d-46a5-9e9a-d9cc496f17d0" providerId="ADAL" clId="{76E79A37-3268-42DA-B95A-A0555D918C30}" dt="2023-03-23T12:50:00.525" v="1549" actId="680"/>
        <pc:sldMkLst>
          <pc:docMk/>
          <pc:sldMk cId="2723177723" sldId="4630"/>
        </pc:sldMkLst>
      </pc:sldChg>
      <pc:sldChg chg="new del">
        <pc:chgData name="Sudarshan Chakravarthi" userId="9632d19e-631d-46a5-9e9a-d9cc496f17d0" providerId="ADAL" clId="{76E79A37-3268-42DA-B95A-A0555D918C30}" dt="2023-03-23T12:49:58.534" v="1548" actId="680"/>
        <pc:sldMkLst>
          <pc:docMk/>
          <pc:sldMk cId="1605375686" sldId="4631"/>
        </pc:sldMkLst>
      </pc:sldChg>
      <pc:sldChg chg="new del">
        <pc:chgData name="Sudarshan Chakravarthi" userId="9632d19e-631d-46a5-9e9a-d9cc496f17d0" providerId="ADAL" clId="{76E79A37-3268-42DA-B95A-A0555D918C30}" dt="2023-03-23T12:49:57.907" v="1547" actId="680"/>
        <pc:sldMkLst>
          <pc:docMk/>
          <pc:sldMk cId="4044960607" sldId="4632"/>
        </pc:sldMkLst>
      </pc:sldChg>
      <pc:sldChg chg="new del">
        <pc:chgData name="Sudarshan Chakravarthi" userId="9632d19e-631d-46a5-9e9a-d9cc496f17d0" providerId="ADAL" clId="{76E79A37-3268-42DA-B95A-A0555D918C30}" dt="2023-03-23T12:49:57.072" v="1546" actId="680"/>
        <pc:sldMkLst>
          <pc:docMk/>
          <pc:sldMk cId="1770902355" sldId="4633"/>
        </pc:sldMkLst>
      </pc:sldChg>
      <pc:sldMasterChg chg="del delSldLayout">
        <pc:chgData name="Sudarshan Chakravarthi" userId="9632d19e-631d-46a5-9e9a-d9cc496f17d0" providerId="ADAL" clId="{76E79A37-3268-42DA-B95A-A0555D918C30}" dt="2023-03-23T13:19:21.871" v="1758" actId="47"/>
        <pc:sldMasterMkLst>
          <pc:docMk/>
          <pc:sldMasterMk cId="2376201498" sldId="2147483685"/>
        </pc:sldMasterMkLst>
        <pc:sldLayoutChg chg="del">
          <pc:chgData name="Sudarshan Chakravarthi" userId="9632d19e-631d-46a5-9e9a-d9cc496f17d0" providerId="ADAL" clId="{76E79A37-3268-42DA-B95A-A0555D918C30}" dt="2023-03-23T13:19:21.871" v="1758" actId="47"/>
          <pc:sldLayoutMkLst>
            <pc:docMk/>
            <pc:sldMasterMk cId="2376201498" sldId="2147483685"/>
            <pc:sldLayoutMk cId="1787104671" sldId="2147483686"/>
          </pc:sldLayoutMkLst>
        </pc:sldLayoutChg>
        <pc:sldLayoutChg chg="del">
          <pc:chgData name="Sudarshan Chakravarthi" userId="9632d19e-631d-46a5-9e9a-d9cc496f17d0" providerId="ADAL" clId="{76E79A37-3268-42DA-B95A-A0555D918C30}" dt="2023-03-23T13:19:21.871" v="1758" actId="47"/>
          <pc:sldLayoutMkLst>
            <pc:docMk/>
            <pc:sldMasterMk cId="2376201498" sldId="2147483685"/>
            <pc:sldLayoutMk cId="4058385683" sldId="2147483687"/>
          </pc:sldLayoutMkLst>
        </pc:sldLayoutChg>
        <pc:sldLayoutChg chg="del">
          <pc:chgData name="Sudarshan Chakravarthi" userId="9632d19e-631d-46a5-9e9a-d9cc496f17d0" providerId="ADAL" clId="{76E79A37-3268-42DA-B95A-A0555D918C30}" dt="2023-03-23T13:19:21.871" v="1758" actId="47"/>
          <pc:sldLayoutMkLst>
            <pc:docMk/>
            <pc:sldMasterMk cId="2376201498" sldId="2147483685"/>
            <pc:sldLayoutMk cId="35013330" sldId="2147483688"/>
          </pc:sldLayoutMkLst>
        </pc:sldLayoutChg>
        <pc:sldLayoutChg chg="del">
          <pc:chgData name="Sudarshan Chakravarthi" userId="9632d19e-631d-46a5-9e9a-d9cc496f17d0" providerId="ADAL" clId="{76E79A37-3268-42DA-B95A-A0555D918C30}" dt="2023-03-23T13:19:21.871" v="1758" actId="47"/>
          <pc:sldLayoutMkLst>
            <pc:docMk/>
            <pc:sldMasterMk cId="2376201498" sldId="2147483685"/>
            <pc:sldLayoutMk cId="2886885235" sldId="2147483689"/>
          </pc:sldLayoutMkLst>
        </pc:sldLayoutChg>
        <pc:sldLayoutChg chg="del">
          <pc:chgData name="Sudarshan Chakravarthi" userId="9632d19e-631d-46a5-9e9a-d9cc496f17d0" providerId="ADAL" clId="{76E79A37-3268-42DA-B95A-A0555D918C30}" dt="2023-03-23T13:19:21.871" v="1758" actId="47"/>
          <pc:sldLayoutMkLst>
            <pc:docMk/>
            <pc:sldMasterMk cId="2376201498" sldId="2147483685"/>
            <pc:sldLayoutMk cId="2479831988" sldId="2147483690"/>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07A20EF-AA45-4333-A669-B0E8D2F56772}" type="doc">
      <dgm:prSet loTypeId="urn:microsoft.com/office/officeart/2005/8/layout/pyramid1" loCatId="pyramid" qsTypeId="urn:microsoft.com/office/officeart/2005/8/quickstyle/simple1" qsCatId="simple" csTypeId="urn:microsoft.com/office/officeart/2005/8/colors/accent1_2" csCatId="accent1" phldr="1"/>
      <dgm:spPr/>
    </dgm:pt>
    <dgm:pt modelId="{119B55A2-0EC5-4521-A1B3-32ED3EBD61DC}">
      <dgm:prSet phldrT="[Text]" custT="1"/>
      <dgm:spPr>
        <a:solidFill>
          <a:schemeClr val="accent5">
            <a:lumMod val="75000"/>
          </a:schemeClr>
        </a:solidFill>
        <a:ln>
          <a:solidFill>
            <a:schemeClr val="tx1"/>
          </a:solidFill>
        </a:ln>
      </dgm:spPr>
      <dgm:t>
        <a:bodyPr/>
        <a:lstStyle/>
        <a:p>
          <a:r>
            <a:rPr lang="en-US" sz="800" b="1" dirty="0">
              <a:latin typeface="Calibri" pitchFamily="34" charset="0"/>
              <a:cs typeface="Calibri" pitchFamily="34" charset="0"/>
            </a:rPr>
            <a:t>-</a:t>
          </a:r>
        </a:p>
      </dgm:t>
    </dgm:pt>
    <dgm:pt modelId="{04DAEF53-EB6E-48E7-9347-4A8D122D5BC7}" type="parTrans" cxnId="{598AA2BB-2F91-47D9-B809-9B4FDB15588E}">
      <dgm:prSet/>
      <dgm:spPr/>
      <dgm:t>
        <a:bodyPr/>
        <a:lstStyle/>
        <a:p>
          <a:endParaRPr lang="en-US" sz="800" b="1">
            <a:latin typeface="Calibri" pitchFamily="34" charset="0"/>
            <a:cs typeface="Calibri" pitchFamily="34" charset="0"/>
          </a:endParaRPr>
        </a:p>
      </dgm:t>
    </dgm:pt>
    <dgm:pt modelId="{E7D9BC32-7095-4435-8698-DE0848D58B8D}" type="sibTrans" cxnId="{598AA2BB-2F91-47D9-B809-9B4FDB15588E}">
      <dgm:prSet/>
      <dgm:spPr/>
      <dgm:t>
        <a:bodyPr/>
        <a:lstStyle/>
        <a:p>
          <a:endParaRPr lang="en-US" sz="800" b="1">
            <a:latin typeface="Calibri" pitchFamily="34" charset="0"/>
            <a:cs typeface="Calibri" pitchFamily="34" charset="0"/>
          </a:endParaRPr>
        </a:p>
      </dgm:t>
    </dgm:pt>
    <dgm:pt modelId="{01D2A54F-33A8-4A02-AD1D-1553F8AC1063}">
      <dgm:prSet phldrT="[Text]" custT="1"/>
      <dgm:spPr>
        <a:solidFill>
          <a:schemeClr val="bg1"/>
        </a:solidFill>
        <a:ln>
          <a:solidFill>
            <a:schemeClr val="tx1"/>
          </a:solidFill>
        </a:ln>
      </dgm:spPr>
      <dgm:t>
        <a:bodyPr/>
        <a:lstStyle/>
        <a:p>
          <a:r>
            <a:rPr lang="en-US" sz="800" b="1" dirty="0">
              <a:latin typeface="Calibri" pitchFamily="34" charset="0"/>
              <a:cs typeface="Calibri" pitchFamily="34" charset="0"/>
            </a:rPr>
            <a:t>-</a:t>
          </a:r>
        </a:p>
      </dgm:t>
    </dgm:pt>
    <dgm:pt modelId="{8995C0E7-3D4E-4A27-BDFD-FD056338D789}" type="parTrans" cxnId="{A61AA3FC-88F4-4BB0-89D8-558BD5A4877F}">
      <dgm:prSet/>
      <dgm:spPr/>
      <dgm:t>
        <a:bodyPr/>
        <a:lstStyle/>
        <a:p>
          <a:endParaRPr lang="en-US" sz="800" b="1">
            <a:latin typeface="Calibri" pitchFamily="34" charset="0"/>
            <a:cs typeface="Calibri" pitchFamily="34" charset="0"/>
          </a:endParaRPr>
        </a:p>
      </dgm:t>
    </dgm:pt>
    <dgm:pt modelId="{F6F2B98A-D189-44CB-AD87-5A6B5D8FB047}" type="sibTrans" cxnId="{A61AA3FC-88F4-4BB0-89D8-558BD5A4877F}">
      <dgm:prSet/>
      <dgm:spPr/>
      <dgm:t>
        <a:bodyPr/>
        <a:lstStyle/>
        <a:p>
          <a:endParaRPr lang="en-US" sz="800" b="1">
            <a:latin typeface="Calibri" pitchFamily="34" charset="0"/>
            <a:cs typeface="Calibri" pitchFamily="34" charset="0"/>
          </a:endParaRPr>
        </a:p>
      </dgm:t>
    </dgm:pt>
    <dgm:pt modelId="{DA13AB80-2BB4-48B4-8079-AD06BAC88F74}">
      <dgm:prSet phldrT="[Text]" custT="1"/>
      <dgm:spPr>
        <a:solidFill>
          <a:schemeClr val="bg1"/>
        </a:solidFill>
        <a:ln>
          <a:solidFill>
            <a:schemeClr val="tx1"/>
          </a:solidFill>
        </a:ln>
      </dgm:spPr>
      <dgm:t>
        <a:bodyPr/>
        <a:lstStyle/>
        <a:p>
          <a:r>
            <a:rPr lang="en-US" sz="800" b="1" dirty="0">
              <a:latin typeface="Calibri" pitchFamily="34" charset="0"/>
              <a:cs typeface="Calibri" pitchFamily="34" charset="0"/>
            </a:rPr>
            <a:t>-</a:t>
          </a:r>
        </a:p>
      </dgm:t>
    </dgm:pt>
    <dgm:pt modelId="{3FCCB308-9D14-437D-89D7-94934A9A49D7}" type="parTrans" cxnId="{EA1961D9-5D5B-435D-A414-A78562663072}">
      <dgm:prSet/>
      <dgm:spPr/>
      <dgm:t>
        <a:bodyPr/>
        <a:lstStyle/>
        <a:p>
          <a:endParaRPr lang="en-US" sz="800" b="1">
            <a:latin typeface="Calibri" pitchFamily="34" charset="0"/>
            <a:cs typeface="Calibri" pitchFamily="34" charset="0"/>
          </a:endParaRPr>
        </a:p>
      </dgm:t>
    </dgm:pt>
    <dgm:pt modelId="{A85BC32B-BA54-4914-A50B-BBE388AD358A}" type="sibTrans" cxnId="{EA1961D9-5D5B-435D-A414-A78562663072}">
      <dgm:prSet/>
      <dgm:spPr/>
      <dgm:t>
        <a:bodyPr/>
        <a:lstStyle/>
        <a:p>
          <a:endParaRPr lang="en-US" sz="800" b="1">
            <a:latin typeface="Calibri" pitchFamily="34" charset="0"/>
            <a:cs typeface="Calibri" pitchFamily="34" charset="0"/>
          </a:endParaRPr>
        </a:p>
      </dgm:t>
    </dgm:pt>
    <dgm:pt modelId="{AAC0D9AE-F9EC-49DC-B138-6D6A9E4EF769}" type="pres">
      <dgm:prSet presAssocID="{A07A20EF-AA45-4333-A669-B0E8D2F56772}" presName="Name0" presStyleCnt="0">
        <dgm:presLayoutVars>
          <dgm:dir/>
          <dgm:animLvl val="lvl"/>
          <dgm:resizeHandles val="exact"/>
        </dgm:presLayoutVars>
      </dgm:prSet>
      <dgm:spPr/>
    </dgm:pt>
    <dgm:pt modelId="{21945518-E8E7-46C2-AF1D-54F05CBDF258}" type="pres">
      <dgm:prSet presAssocID="{119B55A2-0EC5-4521-A1B3-32ED3EBD61DC}" presName="Name8" presStyleCnt="0"/>
      <dgm:spPr/>
    </dgm:pt>
    <dgm:pt modelId="{5D59FF34-9F6B-4E47-BC81-ED7280DAF031}" type="pres">
      <dgm:prSet presAssocID="{119B55A2-0EC5-4521-A1B3-32ED3EBD61DC}" presName="level" presStyleLbl="node1" presStyleIdx="0" presStyleCnt="3">
        <dgm:presLayoutVars>
          <dgm:chMax val="1"/>
          <dgm:bulletEnabled val="1"/>
        </dgm:presLayoutVars>
      </dgm:prSet>
      <dgm:spPr/>
    </dgm:pt>
    <dgm:pt modelId="{6A3453D0-F490-4A90-AF28-DA247A1F60D2}" type="pres">
      <dgm:prSet presAssocID="{119B55A2-0EC5-4521-A1B3-32ED3EBD61DC}" presName="levelTx" presStyleLbl="revTx" presStyleIdx="0" presStyleCnt="0">
        <dgm:presLayoutVars>
          <dgm:chMax val="1"/>
          <dgm:bulletEnabled val="1"/>
        </dgm:presLayoutVars>
      </dgm:prSet>
      <dgm:spPr/>
    </dgm:pt>
    <dgm:pt modelId="{AF90D4EC-2558-411D-8C2E-38929BE87C40}" type="pres">
      <dgm:prSet presAssocID="{01D2A54F-33A8-4A02-AD1D-1553F8AC1063}" presName="Name8" presStyleCnt="0"/>
      <dgm:spPr/>
    </dgm:pt>
    <dgm:pt modelId="{230BBEA4-2BE2-4BA5-9365-A99A540F3750}" type="pres">
      <dgm:prSet presAssocID="{01D2A54F-33A8-4A02-AD1D-1553F8AC1063}" presName="level" presStyleLbl="node1" presStyleIdx="1" presStyleCnt="3">
        <dgm:presLayoutVars>
          <dgm:chMax val="1"/>
          <dgm:bulletEnabled val="1"/>
        </dgm:presLayoutVars>
      </dgm:prSet>
      <dgm:spPr/>
    </dgm:pt>
    <dgm:pt modelId="{961BDEA7-C30B-4288-B445-67183EB41BBA}" type="pres">
      <dgm:prSet presAssocID="{01D2A54F-33A8-4A02-AD1D-1553F8AC1063}" presName="levelTx" presStyleLbl="revTx" presStyleIdx="0" presStyleCnt="0">
        <dgm:presLayoutVars>
          <dgm:chMax val="1"/>
          <dgm:bulletEnabled val="1"/>
        </dgm:presLayoutVars>
      </dgm:prSet>
      <dgm:spPr/>
    </dgm:pt>
    <dgm:pt modelId="{636809AD-4A70-45DA-B114-4FFF8F64090A}" type="pres">
      <dgm:prSet presAssocID="{DA13AB80-2BB4-48B4-8079-AD06BAC88F74}" presName="Name8" presStyleCnt="0"/>
      <dgm:spPr/>
    </dgm:pt>
    <dgm:pt modelId="{88E92CEF-410A-4229-9DF3-34E4FB8F0E9F}" type="pres">
      <dgm:prSet presAssocID="{DA13AB80-2BB4-48B4-8079-AD06BAC88F74}" presName="level" presStyleLbl="node1" presStyleIdx="2" presStyleCnt="3">
        <dgm:presLayoutVars>
          <dgm:chMax val="1"/>
          <dgm:bulletEnabled val="1"/>
        </dgm:presLayoutVars>
      </dgm:prSet>
      <dgm:spPr/>
    </dgm:pt>
    <dgm:pt modelId="{D369A8B3-F081-411B-8DE3-1BC1B3C09BBC}" type="pres">
      <dgm:prSet presAssocID="{DA13AB80-2BB4-48B4-8079-AD06BAC88F74}" presName="levelTx" presStyleLbl="revTx" presStyleIdx="0" presStyleCnt="0">
        <dgm:presLayoutVars>
          <dgm:chMax val="1"/>
          <dgm:bulletEnabled val="1"/>
        </dgm:presLayoutVars>
      </dgm:prSet>
      <dgm:spPr/>
    </dgm:pt>
  </dgm:ptLst>
  <dgm:cxnLst>
    <dgm:cxn modelId="{2CFE9030-821F-4AAC-8D36-B883282AEBFD}" type="presOf" srcId="{01D2A54F-33A8-4A02-AD1D-1553F8AC1063}" destId="{230BBEA4-2BE2-4BA5-9365-A99A540F3750}" srcOrd="0" destOrd="0" presId="urn:microsoft.com/office/officeart/2005/8/layout/pyramid1"/>
    <dgm:cxn modelId="{521D533C-8025-4364-9DD2-5C04E0AA109A}" type="presOf" srcId="{A07A20EF-AA45-4333-A669-B0E8D2F56772}" destId="{AAC0D9AE-F9EC-49DC-B138-6D6A9E4EF769}" srcOrd="0" destOrd="0" presId="urn:microsoft.com/office/officeart/2005/8/layout/pyramid1"/>
    <dgm:cxn modelId="{E506D467-4C77-45DB-8326-714A4BFF5488}" type="presOf" srcId="{DA13AB80-2BB4-48B4-8079-AD06BAC88F74}" destId="{D369A8B3-F081-411B-8DE3-1BC1B3C09BBC}" srcOrd="1" destOrd="0" presId="urn:microsoft.com/office/officeart/2005/8/layout/pyramid1"/>
    <dgm:cxn modelId="{81B254A2-0AFD-46F8-999D-AD6E51EF3E1A}" type="presOf" srcId="{119B55A2-0EC5-4521-A1B3-32ED3EBD61DC}" destId="{6A3453D0-F490-4A90-AF28-DA247A1F60D2}" srcOrd="1" destOrd="0" presId="urn:microsoft.com/office/officeart/2005/8/layout/pyramid1"/>
    <dgm:cxn modelId="{598AA2BB-2F91-47D9-B809-9B4FDB15588E}" srcId="{A07A20EF-AA45-4333-A669-B0E8D2F56772}" destId="{119B55A2-0EC5-4521-A1B3-32ED3EBD61DC}" srcOrd="0" destOrd="0" parTransId="{04DAEF53-EB6E-48E7-9347-4A8D122D5BC7}" sibTransId="{E7D9BC32-7095-4435-8698-DE0848D58B8D}"/>
    <dgm:cxn modelId="{476337C3-274B-40FE-994D-1032F0E03932}" type="presOf" srcId="{119B55A2-0EC5-4521-A1B3-32ED3EBD61DC}" destId="{5D59FF34-9F6B-4E47-BC81-ED7280DAF031}" srcOrd="0" destOrd="0" presId="urn:microsoft.com/office/officeart/2005/8/layout/pyramid1"/>
    <dgm:cxn modelId="{07A194CB-F24F-4843-8784-AD2887629C57}" type="presOf" srcId="{01D2A54F-33A8-4A02-AD1D-1553F8AC1063}" destId="{961BDEA7-C30B-4288-B445-67183EB41BBA}" srcOrd="1" destOrd="0" presId="urn:microsoft.com/office/officeart/2005/8/layout/pyramid1"/>
    <dgm:cxn modelId="{EA1961D9-5D5B-435D-A414-A78562663072}" srcId="{A07A20EF-AA45-4333-A669-B0E8D2F56772}" destId="{DA13AB80-2BB4-48B4-8079-AD06BAC88F74}" srcOrd="2" destOrd="0" parTransId="{3FCCB308-9D14-437D-89D7-94934A9A49D7}" sibTransId="{A85BC32B-BA54-4914-A50B-BBE388AD358A}"/>
    <dgm:cxn modelId="{A61AA3FC-88F4-4BB0-89D8-558BD5A4877F}" srcId="{A07A20EF-AA45-4333-A669-B0E8D2F56772}" destId="{01D2A54F-33A8-4A02-AD1D-1553F8AC1063}" srcOrd="1" destOrd="0" parTransId="{8995C0E7-3D4E-4A27-BDFD-FD056338D789}" sibTransId="{F6F2B98A-D189-44CB-AD87-5A6B5D8FB047}"/>
    <dgm:cxn modelId="{69831BFD-2FD0-456C-B962-389C8234C401}" type="presOf" srcId="{DA13AB80-2BB4-48B4-8079-AD06BAC88F74}" destId="{88E92CEF-410A-4229-9DF3-34E4FB8F0E9F}" srcOrd="0" destOrd="0" presId="urn:microsoft.com/office/officeart/2005/8/layout/pyramid1"/>
    <dgm:cxn modelId="{140C1342-F680-4017-99FF-9B4EA54A1064}" type="presParOf" srcId="{AAC0D9AE-F9EC-49DC-B138-6D6A9E4EF769}" destId="{21945518-E8E7-46C2-AF1D-54F05CBDF258}" srcOrd="0" destOrd="0" presId="urn:microsoft.com/office/officeart/2005/8/layout/pyramid1"/>
    <dgm:cxn modelId="{99F281ED-C47F-40B3-8B40-D46C2AE7FF55}" type="presParOf" srcId="{21945518-E8E7-46C2-AF1D-54F05CBDF258}" destId="{5D59FF34-9F6B-4E47-BC81-ED7280DAF031}" srcOrd="0" destOrd="0" presId="urn:microsoft.com/office/officeart/2005/8/layout/pyramid1"/>
    <dgm:cxn modelId="{4924F13A-A65C-449A-B8C8-C6C759474C33}" type="presParOf" srcId="{21945518-E8E7-46C2-AF1D-54F05CBDF258}" destId="{6A3453D0-F490-4A90-AF28-DA247A1F60D2}" srcOrd="1" destOrd="0" presId="urn:microsoft.com/office/officeart/2005/8/layout/pyramid1"/>
    <dgm:cxn modelId="{B16A0C36-20FA-4954-A0AE-4ED6B00D4D03}" type="presParOf" srcId="{AAC0D9AE-F9EC-49DC-B138-6D6A9E4EF769}" destId="{AF90D4EC-2558-411D-8C2E-38929BE87C40}" srcOrd="1" destOrd="0" presId="urn:microsoft.com/office/officeart/2005/8/layout/pyramid1"/>
    <dgm:cxn modelId="{E2391D69-3EA1-4C75-8BA9-4C19975082C8}" type="presParOf" srcId="{AF90D4EC-2558-411D-8C2E-38929BE87C40}" destId="{230BBEA4-2BE2-4BA5-9365-A99A540F3750}" srcOrd="0" destOrd="0" presId="urn:microsoft.com/office/officeart/2005/8/layout/pyramid1"/>
    <dgm:cxn modelId="{48609494-A8B8-4341-90B1-22FE0525EDB8}" type="presParOf" srcId="{AF90D4EC-2558-411D-8C2E-38929BE87C40}" destId="{961BDEA7-C30B-4288-B445-67183EB41BBA}" srcOrd="1" destOrd="0" presId="urn:microsoft.com/office/officeart/2005/8/layout/pyramid1"/>
    <dgm:cxn modelId="{89A179DF-1A63-49CE-8653-6063E14FC83F}" type="presParOf" srcId="{AAC0D9AE-F9EC-49DC-B138-6D6A9E4EF769}" destId="{636809AD-4A70-45DA-B114-4FFF8F64090A}" srcOrd="2" destOrd="0" presId="urn:microsoft.com/office/officeart/2005/8/layout/pyramid1"/>
    <dgm:cxn modelId="{58C2E1C7-68A0-4078-A650-9C5667A89752}" type="presParOf" srcId="{636809AD-4A70-45DA-B114-4FFF8F64090A}" destId="{88E92CEF-410A-4229-9DF3-34E4FB8F0E9F}" srcOrd="0" destOrd="0" presId="urn:microsoft.com/office/officeart/2005/8/layout/pyramid1"/>
    <dgm:cxn modelId="{D7055543-73D2-4DD4-9D5E-BB8A2DB6AD02}" type="presParOf" srcId="{636809AD-4A70-45DA-B114-4FFF8F64090A}" destId="{D369A8B3-F081-411B-8DE3-1BC1B3C09BBC}" srcOrd="1" destOrd="0" presId="urn:microsoft.com/office/officeart/2005/8/layout/pyramid1"/>
  </dgm:cxnLst>
  <dgm:bg>
    <a:noFill/>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59FF34-9F6B-4E47-BC81-ED7280DAF031}">
      <dsp:nvSpPr>
        <dsp:cNvPr id="0" name=""/>
        <dsp:cNvSpPr/>
      </dsp:nvSpPr>
      <dsp:spPr>
        <a:xfrm>
          <a:off x="81775" y="0"/>
          <a:ext cx="81775" cy="66907"/>
        </a:xfrm>
        <a:prstGeom prst="trapezoid">
          <a:avLst>
            <a:gd name="adj" fmla="val 61111"/>
          </a:avLst>
        </a:prstGeom>
        <a:solidFill>
          <a:schemeClr val="accent5">
            <a:lumMod val="75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b="1" kern="1200" dirty="0">
              <a:latin typeface="Calibri" pitchFamily="34" charset="0"/>
              <a:cs typeface="Calibri" pitchFamily="34" charset="0"/>
            </a:rPr>
            <a:t>-</a:t>
          </a:r>
        </a:p>
      </dsp:txBody>
      <dsp:txXfrm>
        <a:off x="81775" y="0"/>
        <a:ext cx="81775" cy="66907"/>
      </dsp:txXfrm>
    </dsp:sp>
    <dsp:sp modelId="{230BBEA4-2BE2-4BA5-9365-A99A540F3750}">
      <dsp:nvSpPr>
        <dsp:cNvPr id="0" name=""/>
        <dsp:cNvSpPr/>
      </dsp:nvSpPr>
      <dsp:spPr>
        <a:xfrm>
          <a:off x="40887" y="66907"/>
          <a:ext cx="163550" cy="66907"/>
        </a:xfrm>
        <a:prstGeom prst="trapezoid">
          <a:avLst>
            <a:gd name="adj" fmla="val 61111"/>
          </a:avLst>
        </a:prstGeom>
        <a:solidFill>
          <a:schemeClr val="bg1"/>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b="1" kern="1200" dirty="0">
              <a:latin typeface="Calibri" pitchFamily="34" charset="0"/>
              <a:cs typeface="Calibri" pitchFamily="34" charset="0"/>
            </a:rPr>
            <a:t>-</a:t>
          </a:r>
        </a:p>
      </dsp:txBody>
      <dsp:txXfrm>
        <a:off x="69509" y="66907"/>
        <a:ext cx="106307" cy="66907"/>
      </dsp:txXfrm>
    </dsp:sp>
    <dsp:sp modelId="{88E92CEF-410A-4229-9DF3-34E4FB8F0E9F}">
      <dsp:nvSpPr>
        <dsp:cNvPr id="0" name=""/>
        <dsp:cNvSpPr/>
      </dsp:nvSpPr>
      <dsp:spPr>
        <a:xfrm>
          <a:off x="0" y="133814"/>
          <a:ext cx="245326" cy="66907"/>
        </a:xfrm>
        <a:prstGeom prst="trapezoid">
          <a:avLst>
            <a:gd name="adj" fmla="val 61111"/>
          </a:avLst>
        </a:prstGeom>
        <a:solidFill>
          <a:schemeClr val="bg1"/>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b="1" kern="1200" dirty="0">
              <a:latin typeface="Calibri" pitchFamily="34" charset="0"/>
              <a:cs typeface="Calibri" pitchFamily="34" charset="0"/>
            </a:rPr>
            <a:t>-</a:t>
          </a:r>
        </a:p>
      </dsp:txBody>
      <dsp:txXfrm>
        <a:off x="42932" y="133814"/>
        <a:ext cx="159461" cy="66907"/>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3-22T12:11:58.250"/>
    </inkml:context>
    <inkml:brush xml:id="br0">
      <inkml:brushProperty name="width" value="0.05" units="cm"/>
      <inkml:brushProperty name="height" value="0.05" units="cm"/>
      <inkml:brushProperty name="color" value="#333333"/>
    </inkml:brush>
  </inkml:definitions>
  <inkml:trace contextRef="#ctx0" brushRef="#br0">0 4056 24575,'20'-2'0,"0"-1"0,-1 0 0,1-2 0,-1 0 0,23-10 0,1 0 0,31-12 0,0-4 0,82-48 0,13-5 0,159-70 0,-300 139 0,0-2 0,-1-1 0,30-27 0,4-2 0,9 2 0,-47 31 0,-1-1 0,0 0 0,29-28 0,100-89 0,-99 90 0,80-84 0,-46 36 0,28-33 0,-44 37 0,56-75 0,-5 6 0,-23 30 0,168-252 0,-149 231 0,-77 100 0,51-77 0,-15 13 0,5 2 0,4 5 0,155-146 0,147-92 0,-242 237 0,-55 41 0,-22 13 0,2 4 0,2 3 0,2 2 0,1 5 0,2 2 0,111-32 0,-159 58 0,80-23 0,0 5 0,183-20 0,-133 34 0,250-10 0,-206 20 0,272 6 0,-428 0 0,-1 2 0,74 20 0,91 39 0,-75-22 0,-37-14 0,398 135 0,-470-153 0,-1 2 0,0 1 0,-1 0 0,0 2 0,-1 1 0,31 29 0,243 180 0,-76-64 0,-98-59 0,66 51 0,54 6 0,103 90 0,-306-218 0,45 45 0,-47-40 0,47 33 0,-64-54 0,19 12 0,-2 2 0,55 53 0,28 30 0,-71-69 0,41 35 0,75 72 0,158 164 0,-218-208 0,41 36 0,19-17 0,5 4 0,-145-108 0,0-2 0,2 0 0,39 20 0,99 40 0,-137-66 0,255 85 0,-240-85 0,-5-2 0,23 8 0,74 13 0,218 36 0,-242-52 0,23 5 0,-101-17 0,0-1 0,0-1 0,45-2 0,34 1 0,-11 8 0,-35-1 0,0-4 0,0-2 0,128-12 0,-170 4 0,0 0 0,0-2 0,0-1 0,-1-1 0,0-2 0,-1 0 0,0-1 0,-1-1 0,0-2 0,26-21 0,16-12 0,2 3 0,75-38 0,-17 12 0,5-2 0,-65 38 0,95-67 0,-127 73 0,-2-2 0,0 0 0,-3-2 0,0-1 0,-2-2 0,34-62 0,-36 64 0,1 0 0,36-37 0,-28 35 0,31-47 0,39-60 0,46-72 0,-24 32 0,-36 55 0,17-9 0,-21 30 0,240-321 0,34 28 0,-272 303 0,-57 60 0,51-46 0,15-7 0,-52 45 0,74-55 0,-25 39 0,197-94 0,-216 118 0,-43 24 0,0 2 0,1 1 0,62-11 0,-23 5 0,16-2 0,1 3 0,134-4 0,180 19 0,-175 3 0,-101 4 0,0 5 0,160 37 0,-95-14 0,438 98 0,-415-65 0,-76-22 0,287 97 0,-215-62 0,-73-26 0,385 170 0,-454-194 0,244 140 0,-103-68 0,-149-77 0,-1 3 0,82 52 0,32 47 0,99 65 0,103 71 0,-256-176 0,-55-42 0,-2 3 0,68 69 0,-85-74 0,99 72 0,-90-76 0,72 69 0,-117-97 0,1 0 0,-2 0 0,0 1 0,12 22 0,-14-21 0,2-1 0,0 1 0,0-2 0,18 20 0,15 11 0,-1 2 0,35 49 0,26 29 0,34 32 106,-90-108-841,58 78-1,-96-114-6090</inkml:trace>
</inkml:ink>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9BFAD2-9C60-7461-8A7D-9741E76D24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6803B5A0-61FF-43CD-F28E-0B8D0E2E204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80DA8640-634E-0DA6-FBF0-1F5AF7B5F002}"/>
              </a:ext>
            </a:extLst>
          </p:cNvPr>
          <p:cNvSpPr>
            <a:spLocks noGrp="1"/>
          </p:cNvSpPr>
          <p:nvPr>
            <p:ph type="dt" sz="half" idx="10"/>
          </p:nvPr>
        </p:nvSpPr>
        <p:spPr/>
        <p:txBody>
          <a:bodyPr/>
          <a:lstStyle/>
          <a:p>
            <a:fld id="{E0E77212-FEB2-4966-BEAF-9AC2950C345D}" type="datetimeFigureOut">
              <a:rPr lang="en-GB" smtClean="0"/>
              <a:t>07/07/2023</a:t>
            </a:fld>
            <a:endParaRPr lang="en-GB"/>
          </a:p>
        </p:txBody>
      </p:sp>
      <p:sp>
        <p:nvSpPr>
          <p:cNvPr id="5" name="Footer Placeholder 4">
            <a:extLst>
              <a:ext uri="{FF2B5EF4-FFF2-40B4-BE49-F238E27FC236}">
                <a16:creationId xmlns:a16="http://schemas.microsoft.com/office/drawing/2014/main" id="{BCD74935-0554-9F81-A3A8-A370ADE8500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0B3B24B-6355-1F27-F70B-A101C078E8FC}"/>
              </a:ext>
            </a:extLst>
          </p:cNvPr>
          <p:cNvSpPr>
            <a:spLocks noGrp="1"/>
          </p:cNvSpPr>
          <p:nvPr>
            <p:ph type="sldNum" sz="quarter" idx="12"/>
          </p:nvPr>
        </p:nvSpPr>
        <p:spPr/>
        <p:txBody>
          <a:bodyPr/>
          <a:lstStyle/>
          <a:p>
            <a:fld id="{83E3B9FD-B342-49D7-8DE4-155C16E449A0}" type="slidenum">
              <a:rPr lang="en-GB" smtClean="0"/>
              <a:t>‹#›</a:t>
            </a:fld>
            <a:endParaRPr lang="en-GB"/>
          </a:p>
        </p:txBody>
      </p:sp>
    </p:spTree>
    <p:extLst>
      <p:ext uri="{BB962C8B-B14F-4D97-AF65-F5344CB8AC3E}">
        <p14:creationId xmlns:p14="http://schemas.microsoft.com/office/powerpoint/2010/main" val="423716113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84858B-7176-A8E0-2061-00E21C68BDD0}"/>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F68AEA54-72A1-8858-EA35-30B592E971F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80E5857-71C0-392B-E20C-E9EAFF93CD5A}"/>
              </a:ext>
            </a:extLst>
          </p:cNvPr>
          <p:cNvSpPr>
            <a:spLocks noGrp="1"/>
          </p:cNvSpPr>
          <p:nvPr>
            <p:ph type="dt" sz="half" idx="10"/>
          </p:nvPr>
        </p:nvSpPr>
        <p:spPr/>
        <p:txBody>
          <a:bodyPr/>
          <a:lstStyle/>
          <a:p>
            <a:fld id="{E0E77212-FEB2-4966-BEAF-9AC2950C345D}" type="datetimeFigureOut">
              <a:rPr lang="en-GB" smtClean="0"/>
              <a:t>07/07/2023</a:t>
            </a:fld>
            <a:endParaRPr lang="en-GB"/>
          </a:p>
        </p:txBody>
      </p:sp>
      <p:sp>
        <p:nvSpPr>
          <p:cNvPr id="5" name="Footer Placeholder 4">
            <a:extLst>
              <a:ext uri="{FF2B5EF4-FFF2-40B4-BE49-F238E27FC236}">
                <a16:creationId xmlns:a16="http://schemas.microsoft.com/office/drawing/2014/main" id="{CA0FD85F-6CFF-7B4D-3373-B75A4548B2C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8CE6416-4A0E-42CD-3B3D-47D6205EC460}"/>
              </a:ext>
            </a:extLst>
          </p:cNvPr>
          <p:cNvSpPr>
            <a:spLocks noGrp="1"/>
          </p:cNvSpPr>
          <p:nvPr>
            <p:ph type="sldNum" sz="quarter" idx="12"/>
          </p:nvPr>
        </p:nvSpPr>
        <p:spPr/>
        <p:txBody>
          <a:bodyPr/>
          <a:lstStyle/>
          <a:p>
            <a:fld id="{83E3B9FD-B342-49D7-8DE4-155C16E449A0}" type="slidenum">
              <a:rPr lang="en-GB" smtClean="0"/>
              <a:t>‹#›</a:t>
            </a:fld>
            <a:endParaRPr lang="en-GB"/>
          </a:p>
        </p:txBody>
      </p:sp>
    </p:spTree>
    <p:extLst>
      <p:ext uri="{BB962C8B-B14F-4D97-AF65-F5344CB8AC3E}">
        <p14:creationId xmlns:p14="http://schemas.microsoft.com/office/powerpoint/2010/main" val="12892020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6B35A2E-29D7-35CE-BA50-5B38EF3F7D1B}"/>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8F7815F4-217D-46BB-307B-5A01BB7100B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7AA948D-CB53-F230-886B-88203D4E1345}"/>
              </a:ext>
            </a:extLst>
          </p:cNvPr>
          <p:cNvSpPr>
            <a:spLocks noGrp="1"/>
          </p:cNvSpPr>
          <p:nvPr>
            <p:ph type="dt" sz="half" idx="10"/>
          </p:nvPr>
        </p:nvSpPr>
        <p:spPr/>
        <p:txBody>
          <a:bodyPr/>
          <a:lstStyle/>
          <a:p>
            <a:fld id="{E0E77212-FEB2-4966-BEAF-9AC2950C345D}" type="datetimeFigureOut">
              <a:rPr lang="en-GB" smtClean="0"/>
              <a:t>07/07/2023</a:t>
            </a:fld>
            <a:endParaRPr lang="en-GB"/>
          </a:p>
        </p:txBody>
      </p:sp>
      <p:sp>
        <p:nvSpPr>
          <p:cNvPr id="5" name="Footer Placeholder 4">
            <a:extLst>
              <a:ext uri="{FF2B5EF4-FFF2-40B4-BE49-F238E27FC236}">
                <a16:creationId xmlns:a16="http://schemas.microsoft.com/office/drawing/2014/main" id="{15D08879-CD36-BC8C-AC3E-985786477CA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F5D3719-35EA-65D8-EBBF-5C5FF8806020}"/>
              </a:ext>
            </a:extLst>
          </p:cNvPr>
          <p:cNvSpPr>
            <a:spLocks noGrp="1"/>
          </p:cNvSpPr>
          <p:nvPr>
            <p:ph type="sldNum" sz="quarter" idx="12"/>
          </p:nvPr>
        </p:nvSpPr>
        <p:spPr/>
        <p:txBody>
          <a:bodyPr/>
          <a:lstStyle/>
          <a:p>
            <a:fld id="{83E3B9FD-B342-49D7-8DE4-155C16E449A0}" type="slidenum">
              <a:rPr lang="en-GB" smtClean="0"/>
              <a:t>‹#›</a:t>
            </a:fld>
            <a:endParaRPr lang="en-GB"/>
          </a:p>
        </p:txBody>
      </p:sp>
    </p:spTree>
    <p:extLst>
      <p:ext uri="{BB962C8B-B14F-4D97-AF65-F5344CB8AC3E}">
        <p14:creationId xmlns:p14="http://schemas.microsoft.com/office/powerpoint/2010/main" val="30921585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8772F1-91F9-47BE-BE62-9932C7EDAB3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AAE1A258-9825-4BF7-AE3F-634354E88E2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B3C4984F-EECA-4680-85F6-1AD033451AB7}"/>
              </a:ext>
            </a:extLst>
          </p:cNvPr>
          <p:cNvSpPr>
            <a:spLocks noGrp="1"/>
          </p:cNvSpPr>
          <p:nvPr>
            <p:ph type="dt" sz="half" idx="10"/>
          </p:nvPr>
        </p:nvSpPr>
        <p:spPr/>
        <p:txBody>
          <a:bodyPr/>
          <a:lstStyle/>
          <a:p>
            <a:fld id="{62B191CE-F718-4C8B-826F-7503487B79B5}" type="datetimeFigureOut">
              <a:rPr lang="en-GB" smtClean="0"/>
              <a:t>07/07/2023</a:t>
            </a:fld>
            <a:endParaRPr lang="en-GB"/>
          </a:p>
        </p:txBody>
      </p:sp>
      <p:sp>
        <p:nvSpPr>
          <p:cNvPr id="5" name="Footer Placeholder 4">
            <a:extLst>
              <a:ext uri="{FF2B5EF4-FFF2-40B4-BE49-F238E27FC236}">
                <a16:creationId xmlns:a16="http://schemas.microsoft.com/office/drawing/2014/main" id="{42A20ACC-52B1-4C2A-8154-937C792E578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89B9807-FDC4-43FE-8933-52AE62E6EABA}"/>
              </a:ext>
            </a:extLst>
          </p:cNvPr>
          <p:cNvSpPr>
            <a:spLocks noGrp="1"/>
          </p:cNvSpPr>
          <p:nvPr>
            <p:ph type="sldNum" sz="quarter" idx="12"/>
          </p:nvPr>
        </p:nvSpPr>
        <p:spPr/>
        <p:txBody>
          <a:bodyPr/>
          <a:lstStyle/>
          <a:p>
            <a:fld id="{E88750C2-3E67-4349-BB2B-733FE64E9501}" type="slidenum">
              <a:rPr lang="en-GB" smtClean="0"/>
              <a:t>‹#›</a:t>
            </a:fld>
            <a:endParaRPr lang="en-GB"/>
          </a:p>
        </p:txBody>
      </p:sp>
    </p:spTree>
    <p:extLst>
      <p:ext uri="{BB962C8B-B14F-4D97-AF65-F5344CB8AC3E}">
        <p14:creationId xmlns:p14="http://schemas.microsoft.com/office/powerpoint/2010/main" val="40580968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53198D-B342-4A57-BC01-355712B54F7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D654BEA-7C13-4B8D-8F7F-689DA453F0A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361957B-2108-478F-8426-A51281D25394}"/>
              </a:ext>
            </a:extLst>
          </p:cNvPr>
          <p:cNvSpPr>
            <a:spLocks noGrp="1"/>
          </p:cNvSpPr>
          <p:nvPr>
            <p:ph type="dt" sz="half" idx="10"/>
          </p:nvPr>
        </p:nvSpPr>
        <p:spPr/>
        <p:txBody>
          <a:bodyPr/>
          <a:lstStyle/>
          <a:p>
            <a:fld id="{62B191CE-F718-4C8B-826F-7503487B79B5}" type="datetimeFigureOut">
              <a:rPr lang="en-GB" smtClean="0"/>
              <a:t>07/07/2023</a:t>
            </a:fld>
            <a:endParaRPr lang="en-GB"/>
          </a:p>
        </p:txBody>
      </p:sp>
      <p:sp>
        <p:nvSpPr>
          <p:cNvPr id="5" name="Footer Placeholder 4">
            <a:extLst>
              <a:ext uri="{FF2B5EF4-FFF2-40B4-BE49-F238E27FC236}">
                <a16:creationId xmlns:a16="http://schemas.microsoft.com/office/drawing/2014/main" id="{FAA229A9-B191-4E64-AE41-D9518F7C1E7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0772A32-1386-4CE9-BC67-E4845E31D14A}"/>
              </a:ext>
            </a:extLst>
          </p:cNvPr>
          <p:cNvSpPr>
            <a:spLocks noGrp="1"/>
          </p:cNvSpPr>
          <p:nvPr>
            <p:ph type="sldNum" sz="quarter" idx="12"/>
          </p:nvPr>
        </p:nvSpPr>
        <p:spPr/>
        <p:txBody>
          <a:bodyPr/>
          <a:lstStyle/>
          <a:p>
            <a:fld id="{E88750C2-3E67-4349-BB2B-733FE64E9501}" type="slidenum">
              <a:rPr lang="en-GB" smtClean="0"/>
              <a:t>‹#›</a:t>
            </a:fld>
            <a:endParaRPr lang="en-GB"/>
          </a:p>
        </p:txBody>
      </p:sp>
    </p:spTree>
    <p:extLst>
      <p:ext uri="{BB962C8B-B14F-4D97-AF65-F5344CB8AC3E}">
        <p14:creationId xmlns:p14="http://schemas.microsoft.com/office/powerpoint/2010/main" val="5658302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A5A6EF-B8CD-4CEC-A7FA-3C95920ECE2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81A2F5DF-47D7-48E9-B7C8-92E9EE6E4A1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D1F5C9D-41EF-4126-A712-DD7D59EB8DF4}"/>
              </a:ext>
            </a:extLst>
          </p:cNvPr>
          <p:cNvSpPr>
            <a:spLocks noGrp="1"/>
          </p:cNvSpPr>
          <p:nvPr>
            <p:ph type="dt" sz="half" idx="10"/>
          </p:nvPr>
        </p:nvSpPr>
        <p:spPr/>
        <p:txBody>
          <a:bodyPr/>
          <a:lstStyle/>
          <a:p>
            <a:fld id="{62B191CE-F718-4C8B-826F-7503487B79B5}" type="datetimeFigureOut">
              <a:rPr lang="en-GB" smtClean="0"/>
              <a:t>07/07/2023</a:t>
            </a:fld>
            <a:endParaRPr lang="en-GB"/>
          </a:p>
        </p:txBody>
      </p:sp>
      <p:sp>
        <p:nvSpPr>
          <p:cNvPr id="5" name="Footer Placeholder 4">
            <a:extLst>
              <a:ext uri="{FF2B5EF4-FFF2-40B4-BE49-F238E27FC236}">
                <a16:creationId xmlns:a16="http://schemas.microsoft.com/office/drawing/2014/main" id="{C31840EB-53D9-4D99-849C-09B40E55845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271E848-98E2-42B0-BD53-7041D6628B4D}"/>
              </a:ext>
            </a:extLst>
          </p:cNvPr>
          <p:cNvSpPr>
            <a:spLocks noGrp="1"/>
          </p:cNvSpPr>
          <p:nvPr>
            <p:ph type="sldNum" sz="quarter" idx="12"/>
          </p:nvPr>
        </p:nvSpPr>
        <p:spPr/>
        <p:txBody>
          <a:bodyPr/>
          <a:lstStyle/>
          <a:p>
            <a:fld id="{E88750C2-3E67-4349-BB2B-733FE64E9501}" type="slidenum">
              <a:rPr lang="en-GB" smtClean="0"/>
              <a:t>‹#›</a:t>
            </a:fld>
            <a:endParaRPr lang="en-GB"/>
          </a:p>
        </p:txBody>
      </p:sp>
    </p:spTree>
    <p:extLst>
      <p:ext uri="{BB962C8B-B14F-4D97-AF65-F5344CB8AC3E}">
        <p14:creationId xmlns:p14="http://schemas.microsoft.com/office/powerpoint/2010/main" val="24799499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C08AEE-F3A6-4402-A697-2141674B2D91}"/>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CF693EBA-C25D-4D49-9156-8EABFA7B79C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D7C4EFFB-404C-435B-9377-ABA01CDEF1B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35891854-9445-4CF0-8723-3985CB6E93B9}"/>
              </a:ext>
            </a:extLst>
          </p:cNvPr>
          <p:cNvSpPr>
            <a:spLocks noGrp="1"/>
          </p:cNvSpPr>
          <p:nvPr>
            <p:ph type="dt" sz="half" idx="10"/>
          </p:nvPr>
        </p:nvSpPr>
        <p:spPr/>
        <p:txBody>
          <a:bodyPr/>
          <a:lstStyle/>
          <a:p>
            <a:fld id="{62B191CE-F718-4C8B-826F-7503487B79B5}" type="datetimeFigureOut">
              <a:rPr lang="en-GB" smtClean="0"/>
              <a:t>07/07/2023</a:t>
            </a:fld>
            <a:endParaRPr lang="en-GB"/>
          </a:p>
        </p:txBody>
      </p:sp>
      <p:sp>
        <p:nvSpPr>
          <p:cNvPr id="6" name="Footer Placeholder 5">
            <a:extLst>
              <a:ext uri="{FF2B5EF4-FFF2-40B4-BE49-F238E27FC236}">
                <a16:creationId xmlns:a16="http://schemas.microsoft.com/office/drawing/2014/main" id="{921B6D98-7366-4E0D-99CB-18252387D40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F35E835-EB94-4CC8-88F1-134667AE784E}"/>
              </a:ext>
            </a:extLst>
          </p:cNvPr>
          <p:cNvSpPr>
            <a:spLocks noGrp="1"/>
          </p:cNvSpPr>
          <p:nvPr>
            <p:ph type="sldNum" sz="quarter" idx="12"/>
          </p:nvPr>
        </p:nvSpPr>
        <p:spPr/>
        <p:txBody>
          <a:bodyPr/>
          <a:lstStyle/>
          <a:p>
            <a:fld id="{E88750C2-3E67-4349-BB2B-733FE64E9501}" type="slidenum">
              <a:rPr lang="en-GB" smtClean="0"/>
              <a:t>‹#›</a:t>
            </a:fld>
            <a:endParaRPr lang="en-GB"/>
          </a:p>
        </p:txBody>
      </p:sp>
    </p:spTree>
    <p:extLst>
      <p:ext uri="{BB962C8B-B14F-4D97-AF65-F5344CB8AC3E}">
        <p14:creationId xmlns:p14="http://schemas.microsoft.com/office/powerpoint/2010/main" val="2123221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C594B-7B60-4B2D-84D2-BD466999341B}"/>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946D8295-7803-4607-98F7-0F0AFEE70A6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40C00EC-A25E-4229-95C3-9E8E0D6D034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16A09A1C-2CFA-4402-B9BA-CD7604EF0C0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A55F030-16B2-43B5-BFB8-9F55F0BBF79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FD8AAD52-7586-4345-AB39-1E224FD9DD76}"/>
              </a:ext>
            </a:extLst>
          </p:cNvPr>
          <p:cNvSpPr>
            <a:spLocks noGrp="1"/>
          </p:cNvSpPr>
          <p:nvPr>
            <p:ph type="dt" sz="half" idx="10"/>
          </p:nvPr>
        </p:nvSpPr>
        <p:spPr/>
        <p:txBody>
          <a:bodyPr/>
          <a:lstStyle/>
          <a:p>
            <a:fld id="{62B191CE-F718-4C8B-826F-7503487B79B5}" type="datetimeFigureOut">
              <a:rPr lang="en-GB" smtClean="0"/>
              <a:t>07/07/2023</a:t>
            </a:fld>
            <a:endParaRPr lang="en-GB"/>
          </a:p>
        </p:txBody>
      </p:sp>
      <p:sp>
        <p:nvSpPr>
          <p:cNvPr id="8" name="Footer Placeholder 7">
            <a:extLst>
              <a:ext uri="{FF2B5EF4-FFF2-40B4-BE49-F238E27FC236}">
                <a16:creationId xmlns:a16="http://schemas.microsoft.com/office/drawing/2014/main" id="{9A8CA7D0-F516-4150-A43C-3AB136D6E2C2}"/>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3DAC61BC-8EC2-4323-9D13-2D2FEFDAF053}"/>
              </a:ext>
            </a:extLst>
          </p:cNvPr>
          <p:cNvSpPr>
            <a:spLocks noGrp="1"/>
          </p:cNvSpPr>
          <p:nvPr>
            <p:ph type="sldNum" sz="quarter" idx="12"/>
          </p:nvPr>
        </p:nvSpPr>
        <p:spPr/>
        <p:txBody>
          <a:bodyPr/>
          <a:lstStyle/>
          <a:p>
            <a:fld id="{E88750C2-3E67-4349-BB2B-733FE64E9501}" type="slidenum">
              <a:rPr lang="en-GB" smtClean="0"/>
              <a:t>‹#›</a:t>
            </a:fld>
            <a:endParaRPr lang="en-GB"/>
          </a:p>
        </p:txBody>
      </p:sp>
    </p:spTree>
    <p:extLst>
      <p:ext uri="{BB962C8B-B14F-4D97-AF65-F5344CB8AC3E}">
        <p14:creationId xmlns:p14="http://schemas.microsoft.com/office/powerpoint/2010/main" val="31695792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7A0362-B425-4507-B3B1-945B289F7DE2}"/>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0EFAF93F-A1CD-40C2-B54B-61760D101071}"/>
              </a:ext>
            </a:extLst>
          </p:cNvPr>
          <p:cNvSpPr>
            <a:spLocks noGrp="1"/>
          </p:cNvSpPr>
          <p:nvPr>
            <p:ph type="dt" sz="half" idx="10"/>
          </p:nvPr>
        </p:nvSpPr>
        <p:spPr/>
        <p:txBody>
          <a:bodyPr/>
          <a:lstStyle/>
          <a:p>
            <a:fld id="{62B191CE-F718-4C8B-826F-7503487B79B5}" type="datetimeFigureOut">
              <a:rPr lang="en-GB" smtClean="0"/>
              <a:t>07/07/2023</a:t>
            </a:fld>
            <a:endParaRPr lang="en-GB"/>
          </a:p>
        </p:txBody>
      </p:sp>
      <p:sp>
        <p:nvSpPr>
          <p:cNvPr id="4" name="Footer Placeholder 3">
            <a:extLst>
              <a:ext uri="{FF2B5EF4-FFF2-40B4-BE49-F238E27FC236}">
                <a16:creationId xmlns:a16="http://schemas.microsoft.com/office/drawing/2014/main" id="{111A2C0D-99D4-4CBA-8E36-5BD4DDD0777E}"/>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A6412652-78A4-422F-9C02-35CBDB7CCD7B}"/>
              </a:ext>
            </a:extLst>
          </p:cNvPr>
          <p:cNvSpPr>
            <a:spLocks noGrp="1"/>
          </p:cNvSpPr>
          <p:nvPr>
            <p:ph type="sldNum" sz="quarter" idx="12"/>
          </p:nvPr>
        </p:nvSpPr>
        <p:spPr/>
        <p:txBody>
          <a:bodyPr/>
          <a:lstStyle/>
          <a:p>
            <a:fld id="{E88750C2-3E67-4349-BB2B-733FE64E9501}" type="slidenum">
              <a:rPr lang="en-GB" smtClean="0"/>
              <a:t>‹#›</a:t>
            </a:fld>
            <a:endParaRPr lang="en-GB"/>
          </a:p>
        </p:txBody>
      </p:sp>
    </p:spTree>
    <p:extLst>
      <p:ext uri="{BB962C8B-B14F-4D97-AF65-F5344CB8AC3E}">
        <p14:creationId xmlns:p14="http://schemas.microsoft.com/office/powerpoint/2010/main" val="37846593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F59443F-A9D8-45EA-A1E8-3B4895EAAA31}"/>
              </a:ext>
            </a:extLst>
          </p:cNvPr>
          <p:cNvSpPr>
            <a:spLocks noGrp="1"/>
          </p:cNvSpPr>
          <p:nvPr>
            <p:ph type="dt" sz="half" idx="10"/>
          </p:nvPr>
        </p:nvSpPr>
        <p:spPr/>
        <p:txBody>
          <a:bodyPr/>
          <a:lstStyle/>
          <a:p>
            <a:fld id="{62B191CE-F718-4C8B-826F-7503487B79B5}" type="datetimeFigureOut">
              <a:rPr lang="en-GB" smtClean="0"/>
              <a:t>07/07/2023</a:t>
            </a:fld>
            <a:endParaRPr lang="en-GB"/>
          </a:p>
        </p:txBody>
      </p:sp>
      <p:sp>
        <p:nvSpPr>
          <p:cNvPr id="3" name="Footer Placeholder 2">
            <a:extLst>
              <a:ext uri="{FF2B5EF4-FFF2-40B4-BE49-F238E27FC236}">
                <a16:creationId xmlns:a16="http://schemas.microsoft.com/office/drawing/2014/main" id="{122FC274-2545-4BB3-BE98-686FBB8C7CA1}"/>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57E13A31-05E4-49B4-8811-EFB3BD4D81E0}"/>
              </a:ext>
            </a:extLst>
          </p:cNvPr>
          <p:cNvSpPr>
            <a:spLocks noGrp="1"/>
          </p:cNvSpPr>
          <p:nvPr>
            <p:ph type="sldNum" sz="quarter" idx="12"/>
          </p:nvPr>
        </p:nvSpPr>
        <p:spPr/>
        <p:txBody>
          <a:bodyPr/>
          <a:lstStyle/>
          <a:p>
            <a:fld id="{E88750C2-3E67-4349-BB2B-733FE64E9501}" type="slidenum">
              <a:rPr lang="en-GB" smtClean="0"/>
              <a:t>‹#›</a:t>
            </a:fld>
            <a:endParaRPr lang="en-GB"/>
          </a:p>
        </p:txBody>
      </p:sp>
    </p:spTree>
    <p:extLst>
      <p:ext uri="{BB962C8B-B14F-4D97-AF65-F5344CB8AC3E}">
        <p14:creationId xmlns:p14="http://schemas.microsoft.com/office/powerpoint/2010/main" val="4015451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6C450-CB74-4117-AAFB-CDC2AD869EE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B292F32C-E25F-49F4-B4B2-DDCF8525E46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7CFCDF45-A77F-4376-8616-08EB08CFE8B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4BE6349-3443-4F8E-A8B4-2DD1012D03E4}"/>
              </a:ext>
            </a:extLst>
          </p:cNvPr>
          <p:cNvSpPr>
            <a:spLocks noGrp="1"/>
          </p:cNvSpPr>
          <p:nvPr>
            <p:ph type="dt" sz="half" idx="10"/>
          </p:nvPr>
        </p:nvSpPr>
        <p:spPr/>
        <p:txBody>
          <a:bodyPr/>
          <a:lstStyle/>
          <a:p>
            <a:fld id="{62B191CE-F718-4C8B-826F-7503487B79B5}" type="datetimeFigureOut">
              <a:rPr lang="en-GB" smtClean="0"/>
              <a:t>07/07/2023</a:t>
            </a:fld>
            <a:endParaRPr lang="en-GB"/>
          </a:p>
        </p:txBody>
      </p:sp>
      <p:sp>
        <p:nvSpPr>
          <p:cNvPr id="6" name="Footer Placeholder 5">
            <a:extLst>
              <a:ext uri="{FF2B5EF4-FFF2-40B4-BE49-F238E27FC236}">
                <a16:creationId xmlns:a16="http://schemas.microsoft.com/office/drawing/2014/main" id="{00A542AB-2AA8-42AB-913E-87C384C7702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2CBDC99-C896-4E2F-83A5-6AB5C81F0D06}"/>
              </a:ext>
            </a:extLst>
          </p:cNvPr>
          <p:cNvSpPr>
            <a:spLocks noGrp="1"/>
          </p:cNvSpPr>
          <p:nvPr>
            <p:ph type="sldNum" sz="quarter" idx="12"/>
          </p:nvPr>
        </p:nvSpPr>
        <p:spPr/>
        <p:txBody>
          <a:bodyPr/>
          <a:lstStyle/>
          <a:p>
            <a:fld id="{E88750C2-3E67-4349-BB2B-733FE64E9501}" type="slidenum">
              <a:rPr lang="en-GB" smtClean="0"/>
              <a:t>‹#›</a:t>
            </a:fld>
            <a:endParaRPr lang="en-GB"/>
          </a:p>
        </p:txBody>
      </p:sp>
    </p:spTree>
    <p:extLst>
      <p:ext uri="{BB962C8B-B14F-4D97-AF65-F5344CB8AC3E}">
        <p14:creationId xmlns:p14="http://schemas.microsoft.com/office/powerpoint/2010/main" val="35236994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078C1C-21B2-9838-2E61-1B1E06716921}"/>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473C731-350A-1FD3-2AB8-5B6971BA231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536F4A4-826B-4764-C964-909B4FFE46CC}"/>
              </a:ext>
            </a:extLst>
          </p:cNvPr>
          <p:cNvSpPr>
            <a:spLocks noGrp="1"/>
          </p:cNvSpPr>
          <p:nvPr>
            <p:ph type="dt" sz="half" idx="10"/>
          </p:nvPr>
        </p:nvSpPr>
        <p:spPr/>
        <p:txBody>
          <a:bodyPr/>
          <a:lstStyle/>
          <a:p>
            <a:fld id="{E0E77212-FEB2-4966-BEAF-9AC2950C345D}" type="datetimeFigureOut">
              <a:rPr lang="en-GB" smtClean="0"/>
              <a:t>07/07/2023</a:t>
            </a:fld>
            <a:endParaRPr lang="en-GB"/>
          </a:p>
        </p:txBody>
      </p:sp>
      <p:sp>
        <p:nvSpPr>
          <p:cNvPr id="5" name="Footer Placeholder 4">
            <a:extLst>
              <a:ext uri="{FF2B5EF4-FFF2-40B4-BE49-F238E27FC236}">
                <a16:creationId xmlns:a16="http://schemas.microsoft.com/office/drawing/2014/main" id="{351E5BCE-0ECA-BF20-A0CB-24085268C3C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F88EE2E-63E5-023D-52D2-453861F570AA}"/>
              </a:ext>
            </a:extLst>
          </p:cNvPr>
          <p:cNvSpPr>
            <a:spLocks noGrp="1"/>
          </p:cNvSpPr>
          <p:nvPr>
            <p:ph type="sldNum" sz="quarter" idx="12"/>
          </p:nvPr>
        </p:nvSpPr>
        <p:spPr/>
        <p:txBody>
          <a:bodyPr/>
          <a:lstStyle/>
          <a:p>
            <a:fld id="{83E3B9FD-B342-49D7-8DE4-155C16E449A0}" type="slidenum">
              <a:rPr lang="en-GB" smtClean="0"/>
              <a:t>‹#›</a:t>
            </a:fld>
            <a:endParaRPr lang="en-GB"/>
          </a:p>
        </p:txBody>
      </p:sp>
    </p:spTree>
    <p:extLst>
      <p:ext uri="{BB962C8B-B14F-4D97-AF65-F5344CB8AC3E}">
        <p14:creationId xmlns:p14="http://schemas.microsoft.com/office/powerpoint/2010/main" val="30622066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D943C-766B-4D0B-81E0-10A5723A3B5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3B8F62CD-E011-4762-A40B-BF59067FDFB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CB363FEC-5F1C-496B-AD9B-7BFB62113D9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39673CA-2F0D-4053-A3FF-AEEB00F1D131}"/>
              </a:ext>
            </a:extLst>
          </p:cNvPr>
          <p:cNvSpPr>
            <a:spLocks noGrp="1"/>
          </p:cNvSpPr>
          <p:nvPr>
            <p:ph type="dt" sz="half" idx="10"/>
          </p:nvPr>
        </p:nvSpPr>
        <p:spPr/>
        <p:txBody>
          <a:bodyPr/>
          <a:lstStyle/>
          <a:p>
            <a:fld id="{62B191CE-F718-4C8B-826F-7503487B79B5}" type="datetimeFigureOut">
              <a:rPr lang="en-GB" smtClean="0"/>
              <a:t>07/07/2023</a:t>
            </a:fld>
            <a:endParaRPr lang="en-GB"/>
          </a:p>
        </p:txBody>
      </p:sp>
      <p:sp>
        <p:nvSpPr>
          <p:cNvPr id="6" name="Footer Placeholder 5">
            <a:extLst>
              <a:ext uri="{FF2B5EF4-FFF2-40B4-BE49-F238E27FC236}">
                <a16:creationId xmlns:a16="http://schemas.microsoft.com/office/drawing/2014/main" id="{11836866-99BB-46DF-B251-2AD788E21A15}"/>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96D475A-74E0-4F40-A52A-4AF610252D0C}"/>
              </a:ext>
            </a:extLst>
          </p:cNvPr>
          <p:cNvSpPr>
            <a:spLocks noGrp="1"/>
          </p:cNvSpPr>
          <p:nvPr>
            <p:ph type="sldNum" sz="quarter" idx="12"/>
          </p:nvPr>
        </p:nvSpPr>
        <p:spPr/>
        <p:txBody>
          <a:bodyPr/>
          <a:lstStyle/>
          <a:p>
            <a:fld id="{E88750C2-3E67-4349-BB2B-733FE64E9501}" type="slidenum">
              <a:rPr lang="en-GB" smtClean="0"/>
              <a:t>‹#›</a:t>
            </a:fld>
            <a:endParaRPr lang="en-GB"/>
          </a:p>
        </p:txBody>
      </p:sp>
    </p:spTree>
    <p:extLst>
      <p:ext uri="{BB962C8B-B14F-4D97-AF65-F5344CB8AC3E}">
        <p14:creationId xmlns:p14="http://schemas.microsoft.com/office/powerpoint/2010/main" val="32757197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C5A57-2FE2-4991-B938-C61DE37AA9D0}"/>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5EC96A2-0605-43C7-9149-43244A692E3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2A20C05-12F3-4A00-8407-B56ED15724FD}"/>
              </a:ext>
            </a:extLst>
          </p:cNvPr>
          <p:cNvSpPr>
            <a:spLocks noGrp="1"/>
          </p:cNvSpPr>
          <p:nvPr>
            <p:ph type="dt" sz="half" idx="10"/>
          </p:nvPr>
        </p:nvSpPr>
        <p:spPr/>
        <p:txBody>
          <a:bodyPr/>
          <a:lstStyle/>
          <a:p>
            <a:fld id="{62B191CE-F718-4C8B-826F-7503487B79B5}" type="datetimeFigureOut">
              <a:rPr lang="en-GB" smtClean="0"/>
              <a:t>07/07/2023</a:t>
            </a:fld>
            <a:endParaRPr lang="en-GB"/>
          </a:p>
        </p:txBody>
      </p:sp>
      <p:sp>
        <p:nvSpPr>
          <p:cNvPr id="5" name="Footer Placeholder 4">
            <a:extLst>
              <a:ext uri="{FF2B5EF4-FFF2-40B4-BE49-F238E27FC236}">
                <a16:creationId xmlns:a16="http://schemas.microsoft.com/office/drawing/2014/main" id="{302BEFF2-2E42-4AE4-8519-48D604D9E97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0FA6CA4-3A14-458A-943C-248877BE59C2}"/>
              </a:ext>
            </a:extLst>
          </p:cNvPr>
          <p:cNvSpPr>
            <a:spLocks noGrp="1"/>
          </p:cNvSpPr>
          <p:nvPr>
            <p:ph type="sldNum" sz="quarter" idx="12"/>
          </p:nvPr>
        </p:nvSpPr>
        <p:spPr/>
        <p:txBody>
          <a:bodyPr/>
          <a:lstStyle/>
          <a:p>
            <a:fld id="{E88750C2-3E67-4349-BB2B-733FE64E9501}" type="slidenum">
              <a:rPr lang="en-GB" smtClean="0"/>
              <a:t>‹#›</a:t>
            </a:fld>
            <a:endParaRPr lang="en-GB"/>
          </a:p>
        </p:txBody>
      </p:sp>
    </p:spTree>
    <p:extLst>
      <p:ext uri="{BB962C8B-B14F-4D97-AF65-F5344CB8AC3E}">
        <p14:creationId xmlns:p14="http://schemas.microsoft.com/office/powerpoint/2010/main" val="2282834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A0D4D4A-A42A-48B4-A85C-611DB9A8A77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1FFAB590-7FE7-4F2D-9C77-46B6E376669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E6D0A2A-322F-4FB2-A6E1-745F356FE28D}"/>
              </a:ext>
            </a:extLst>
          </p:cNvPr>
          <p:cNvSpPr>
            <a:spLocks noGrp="1"/>
          </p:cNvSpPr>
          <p:nvPr>
            <p:ph type="dt" sz="half" idx="10"/>
          </p:nvPr>
        </p:nvSpPr>
        <p:spPr/>
        <p:txBody>
          <a:bodyPr/>
          <a:lstStyle/>
          <a:p>
            <a:fld id="{62B191CE-F718-4C8B-826F-7503487B79B5}" type="datetimeFigureOut">
              <a:rPr lang="en-GB" smtClean="0"/>
              <a:t>07/07/2023</a:t>
            </a:fld>
            <a:endParaRPr lang="en-GB"/>
          </a:p>
        </p:txBody>
      </p:sp>
      <p:sp>
        <p:nvSpPr>
          <p:cNvPr id="5" name="Footer Placeholder 4">
            <a:extLst>
              <a:ext uri="{FF2B5EF4-FFF2-40B4-BE49-F238E27FC236}">
                <a16:creationId xmlns:a16="http://schemas.microsoft.com/office/drawing/2014/main" id="{589E2E7E-F684-427C-85DD-485F610DD79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0BF3AAD-C670-47BF-86BB-05FC7A1D71E3}"/>
              </a:ext>
            </a:extLst>
          </p:cNvPr>
          <p:cNvSpPr>
            <a:spLocks noGrp="1"/>
          </p:cNvSpPr>
          <p:nvPr>
            <p:ph type="sldNum" sz="quarter" idx="12"/>
          </p:nvPr>
        </p:nvSpPr>
        <p:spPr/>
        <p:txBody>
          <a:bodyPr/>
          <a:lstStyle/>
          <a:p>
            <a:fld id="{E88750C2-3E67-4349-BB2B-733FE64E9501}" type="slidenum">
              <a:rPr lang="en-GB" smtClean="0"/>
              <a:t>‹#›</a:t>
            </a:fld>
            <a:endParaRPr lang="en-GB"/>
          </a:p>
        </p:txBody>
      </p:sp>
    </p:spTree>
    <p:extLst>
      <p:ext uri="{BB962C8B-B14F-4D97-AF65-F5344CB8AC3E}">
        <p14:creationId xmlns:p14="http://schemas.microsoft.com/office/powerpoint/2010/main" val="15733240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3304CD-B429-E2C0-6A28-FDDC976B2CB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F3FDF83B-7BF7-FC24-8F3A-4C7DC9CED4F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BA95041C-6E53-CB65-1A88-50ACDFC295A7}"/>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C04B4E60-C60D-7D45-DD96-B02BC686288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CD0E670-E45C-8020-01DD-4882A571FDD3}"/>
              </a:ext>
            </a:extLst>
          </p:cNvPr>
          <p:cNvSpPr>
            <a:spLocks noGrp="1"/>
          </p:cNvSpPr>
          <p:nvPr>
            <p:ph type="sldNum" sz="quarter" idx="12"/>
          </p:nvPr>
        </p:nvSpPr>
        <p:spPr/>
        <p:txBody>
          <a:bodyPr/>
          <a:lstStyle/>
          <a:p>
            <a:fld id="{3F72325A-DC7E-4C04-B741-F2133948C1C0}" type="slidenum">
              <a:rPr lang="en-GB" smtClean="0"/>
              <a:t>‹#›</a:t>
            </a:fld>
            <a:endParaRPr lang="en-GB"/>
          </a:p>
        </p:txBody>
      </p:sp>
    </p:spTree>
    <p:extLst>
      <p:ext uri="{BB962C8B-B14F-4D97-AF65-F5344CB8AC3E}">
        <p14:creationId xmlns:p14="http://schemas.microsoft.com/office/powerpoint/2010/main" val="35168348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2C06C4-AEA3-B0F4-BA58-BCF7AAE4FD5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C1279A6-A885-D98A-D665-2AAC650069C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FE1A12D-55BD-4545-E717-2ADD3422B11B}"/>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A4EFEBC-E522-807B-DEC0-79B7F79CCB8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FDD39F1-7665-3FF5-F783-6F139F03283C}"/>
              </a:ext>
            </a:extLst>
          </p:cNvPr>
          <p:cNvSpPr>
            <a:spLocks noGrp="1"/>
          </p:cNvSpPr>
          <p:nvPr>
            <p:ph type="sldNum" sz="quarter" idx="12"/>
          </p:nvPr>
        </p:nvSpPr>
        <p:spPr/>
        <p:txBody>
          <a:bodyPr/>
          <a:lstStyle/>
          <a:p>
            <a:fld id="{3F72325A-DC7E-4C04-B741-F2133948C1C0}" type="slidenum">
              <a:rPr lang="en-GB" smtClean="0"/>
              <a:t>‹#›</a:t>
            </a:fld>
            <a:endParaRPr lang="en-GB"/>
          </a:p>
        </p:txBody>
      </p:sp>
    </p:spTree>
    <p:extLst>
      <p:ext uri="{BB962C8B-B14F-4D97-AF65-F5344CB8AC3E}">
        <p14:creationId xmlns:p14="http://schemas.microsoft.com/office/powerpoint/2010/main" val="151780771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3083E4-B550-98AF-C188-C8A4A5177DC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95027052-69EC-A2CE-B724-7A88900C35E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42F6277-7BCA-FAD4-A91B-8EA3E77BD802}"/>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D8366272-8181-1CD9-76CA-F9199842CED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D6B9B51-1CDE-C549-0B3F-248A43E6859C}"/>
              </a:ext>
            </a:extLst>
          </p:cNvPr>
          <p:cNvSpPr>
            <a:spLocks noGrp="1"/>
          </p:cNvSpPr>
          <p:nvPr>
            <p:ph type="sldNum" sz="quarter" idx="12"/>
          </p:nvPr>
        </p:nvSpPr>
        <p:spPr/>
        <p:txBody>
          <a:bodyPr/>
          <a:lstStyle/>
          <a:p>
            <a:fld id="{3F72325A-DC7E-4C04-B741-F2133948C1C0}" type="slidenum">
              <a:rPr lang="en-GB" smtClean="0"/>
              <a:t>‹#›</a:t>
            </a:fld>
            <a:endParaRPr lang="en-GB"/>
          </a:p>
        </p:txBody>
      </p:sp>
    </p:spTree>
    <p:extLst>
      <p:ext uri="{BB962C8B-B14F-4D97-AF65-F5344CB8AC3E}">
        <p14:creationId xmlns:p14="http://schemas.microsoft.com/office/powerpoint/2010/main" val="211547506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8B9046-53B3-F355-2EB9-DDA0ABBAB893}"/>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7D2B59F-B088-344E-546C-07F12C37928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6BB507E5-7647-609E-3FFC-8A3517C6882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89E73A6A-8819-A2A2-BF01-29B37B8DF45E}"/>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F587B264-D165-DDB0-71DF-6ADE19B805E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C5B0604-DECF-9F43-31F8-3BC4B4639336}"/>
              </a:ext>
            </a:extLst>
          </p:cNvPr>
          <p:cNvSpPr>
            <a:spLocks noGrp="1"/>
          </p:cNvSpPr>
          <p:nvPr>
            <p:ph type="sldNum" sz="quarter" idx="12"/>
          </p:nvPr>
        </p:nvSpPr>
        <p:spPr/>
        <p:txBody>
          <a:bodyPr/>
          <a:lstStyle/>
          <a:p>
            <a:fld id="{3F72325A-DC7E-4C04-B741-F2133948C1C0}" type="slidenum">
              <a:rPr lang="en-GB" smtClean="0"/>
              <a:t>‹#›</a:t>
            </a:fld>
            <a:endParaRPr lang="en-GB"/>
          </a:p>
        </p:txBody>
      </p:sp>
    </p:spTree>
    <p:extLst>
      <p:ext uri="{BB962C8B-B14F-4D97-AF65-F5344CB8AC3E}">
        <p14:creationId xmlns:p14="http://schemas.microsoft.com/office/powerpoint/2010/main" val="143178259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DFEB59-73AA-3638-A6EE-DDDDE0020703}"/>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78541295-B968-DF40-7AA2-E87EDC0CE16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6282A53-852C-AF62-BDD2-09AB4B9F9AD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9CCFE7C6-0DE7-415B-8A50-3DE541FA9C0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A08A862-3A30-C914-0AA9-F2B72442594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15286D94-FDA2-6F0F-F2A8-F328DB55864E}"/>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E6F6C325-F66D-342B-9B91-35393553A4BF}"/>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917774F6-F720-2FE9-5042-793B1FDE1D79}"/>
              </a:ext>
            </a:extLst>
          </p:cNvPr>
          <p:cNvSpPr>
            <a:spLocks noGrp="1"/>
          </p:cNvSpPr>
          <p:nvPr>
            <p:ph type="sldNum" sz="quarter" idx="12"/>
          </p:nvPr>
        </p:nvSpPr>
        <p:spPr/>
        <p:txBody>
          <a:bodyPr/>
          <a:lstStyle/>
          <a:p>
            <a:fld id="{3F72325A-DC7E-4C04-B741-F2133948C1C0}" type="slidenum">
              <a:rPr lang="en-GB" smtClean="0"/>
              <a:t>‹#›</a:t>
            </a:fld>
            <a:endParaRPr lang="en-GB"/>
          </a:p>
        </p:txBody>
      </p:sp>
    </p:spTree>
    <p:extLst>
      <p:ext uri="{BB962C8B-B14F-4D97-AF65-F5344CB8AC3E}">
        <p14:creationId xmlns:p14="http://schemas.microsoft.com/office/powerpoint/2010/main" val="8554114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0B5C35-8266-96B7-E6FC-368E7D370D9F}"/>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C1895730-C019-27C5-F8D0-D46FC0BDD83A}"/>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F4FF9C9B-BA50-9E4B-14F7-426BC23B6C87}"/>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847B021A-6ABA-6261-15E7-310A7E43BD21}"/>
              </a:ext>
            </a:extLst>
          </p:cNvPr>
          <p:cNvSpPr>
            <a:spLocks noGrp="1"/>
          </p:cNvSpPr>
          <p:nvPr>
            <p:ph type="sldNum" sz="quarter" idx="12"/>
          </p:nvPr>
        </p:nvSpPr>
        <p:spPr/>
        <p:txBody>
          <a:bodyPr/>
          <a:lstStyle/>
          <a:p>
            <a:fld id="{3F72325A-DC7E-4C04-B741-F2133948C1C0}" type="slidenum">
              <a:rPr lang="en-GB" smtClean="0"/>
              <a:t>‹#›</a:t>
            </a:fld>
            <a:endParaRPr lang="en-GB"/>
          </a:p>
        </p:txBody>
      </p:sp>
    </p:spTree>
    <p:extLst>
      <p:ext uri="{BB962C8B-B14F-4D97-AF65-F5344CB8AC3E}">
        <p14:creationId xmlns:p14="http://schemas.microsoft.com/office/powerpoint/2010/main" val="260096164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6FD4C47-9E03-29F1-3062-703FAFDEB006}"/>
              </a:ext>
            </a:extLst>
          </p:cNvPr>
          <p:cNvSpPr>
            <a:spLocks noGrp="1"/>
          </p:cNvSpPr>
          <p:nvPr>
            <p:ph type="dt" sz="half" idx="10"/>
          </p:nvPr>
        </p:nvSpPr>
        <p:spPr/>
        <p:txBody>
          <a:bodyPr/>
          <a:lstStyle/>
          <a:p>
            <a:endParaRPr lang="en-GB"/>
          </a:p>
        </p:txBody>
      </p:sp>
      <p:sp>
        <p:nvSpPr>
          <p:cNvPr id="3" name="Footer Placeholder 2">
            <a:extLst>
              <a:ext uri="{FF2B5EF4-FFF2-40B4-BE49-F238E27FC236}">
                <a16:creationId xmlns:a16="http://schemas.microsoft.com/office/drawing/2014/main" id="{E3D1530B-D35D-1BE2-9751-93A83C20BB46}"/>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48E781D-AAE5-B89E-7451-03D4417EF1DD}"/>
              </a:ext>
            </a:extLst>
          </p:cNvPr>
          <p:cNvSpPr>
            <a:spLocks noGrp="1"/>
          </p:cNvSpPr>
          <p:nvPr>
            <p:ph type="sldNum" sz="quarter" idx="12"/>
          </p:nvPr>
        </p:nvSpPr>
        <p:spPr/>
        <p:txBody>
          <a:bodyPr/>
          <a:lstStyle/>
          <a:p>
            <a:fld id="{3F72325A-DC7E-4C04-B741-F2133948C1C0}" type="slidenum">
              <a:rPr lang="en-GB" smtClean="0"/>
              <a:t>‹#›</a:t>
            </a:fld>
            <a:endParaRPr lang="en-GB"/>
          </a:p>
        </p:txBody>
      </p:sp>
    </p:spTree>
    <p:extLst>
      <p:ext uri="{BB962C8B-B14F-4D97-AF65-F5344CB8AC3E}">
        <p14:creationId xmlns:p14="http://schemas.microsoft.com/office/powerpoint/2010/main" val="2400963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6EE781-E817-E1B0-9FDD-120D5F5B0A3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F415A09F-BC36-D410-D214-17C402D8726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F3B2431-9B1C-71DD-EFFA-C01B05A99BD3}"/>
              </a:ext>
            </a:extLst>
          </p:cNvPr>
          <p:cNvSpPr>
            <a:spLocks noGrp="1"/>
          </p:cNvSpPr>
          <p:nvPr>
            <p:ph type="dt" sz="half" idx="10"/>
          </p:nvPr>
        </p:nvSpPr>
        <p:spPr/>
        <p:txBody>
          <a:bodyPr/>
          <a:lstStyle/>
          <a:p>
            <a:fld id="{E0E77212-FEB2-4966-BEAF-9AC2950C345D}" type="datetimeFigureOut">
              <a:rPr lang="en-GB" smtClean="0"/>
              <a:t>07/07/2023</a:t>
            </a:fld>
            <a:endParaRPr lang="en-GB"/>
          </a:p>
        </p:txBody>
      </p:sp>
      <p:sp>
        <p:nvSpPr>
          <p:cNvPr id="5" name="Footer Placeholder 4">
            <a:extLst>
              <a:ext uri="{FF2B5EF4-FFF2-40B4-BE49-F238E27FC236}">
                <a16:creationId xmlns:a16="http://schemas.microsoft.com/office/drawing/2014/main" id="{4CD5E2C0-6AFC-D87E-79BC-6B8CD676E24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921D8AE-90DF-EB6B-9B9C-68BF64B49472}"/>
              </a:ext>
            </a:extLst>
          </p:cNvPr>
          <p:cNvSpPr>
            <a:spLocks noGrp="1"/>
          </p:cNvSpPr>
          <p:nvPr>
            <p:ph type="sldNum" sz="quarter" idx="12"/>
          </p:nvPr>
        </p:nvSpPr>
        <p:spPr/>
        <p:txBody>
          <a:bodyPr/>
          <a:lstStyle/>
          <a:p>
            <a:fld id="{83E3B9FD-B342-49D7-8DE4-155C16E449A0}" type="slidenum">
              <a:rPr lang="en-GB" smtClean="0"/>
              <a:t>‹#›</a:t>
            </a:fld>
            <a:endParaRPr lang="en-GB"/>
          </a:p>
        </p:txBody>
      </p:sp>
    </p:spTree>
    <p:extLst>
      <p:ext uri="{BB962C8B-B14F-4D97-AF65-F5344CB8AC3E}">
        <p14:creationId xmlns:p14="http://schemas.microsoft.com/office/powerpoint/2010/main" val="40330190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3BFB5F-AD53-D62D-77CF-79E4E94C1E2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B873A7A8-BD41-9839-E442-50839B727AD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9ACFCC57-E33C-96B6-D4B9-4F61945846C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41F7E8E-CB13-A409-7AB1-97E9072B0869}"/>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FC184A0B-3D8A-EC4F-18AC-194C5B93D802}"/>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C5855657-A14C-5094-3C12-6C107FDB2FC1}"/>
              </a:ext>
            </a:extLst>
          </p:cNvPr>
          <p:cNvSpPr>
            <a:spLocks noGrp="1"/>
          </p:cNvSpPr>
          <p:nvPr>
            <p:ph type="sldNum" sz="quarter" idx="12"/>
          </p:nvPr>
        </p:nvSpPr>
        <p:spPr/>
        <p:txBody>
          <a:bodyPr/>
          <a:lstStyle/>
          <a:p>
            <a:fld id="{3F72325A-DC7E-4C04-B741-F2133948C1C0}" type="slidenum">
              <a:rPr lang="en-GB" smtClean="0"/>
              <a:t>‹#›</a:t>
            </a:fld>
            <a:endParaRPr lang="en-GB"/>
          </a:p>
        </p:txBody>
      </p:sp>
    </p:spTree>
    <p:extLst>
      <p:ext uri="{BB962C8B-B14F-4D97-AF65-F5344CB8AC3E}">
        <p14:creationId xmlns:p14="http://schemas.microsoft.com/office/powerpoint/2010/main" val="185518087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FE171A-A5A9-AFCB-4601-6B569E97C1E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69E3C936-C613-6D3E-C468-DE876FB631E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33016250-F572-107B-6B11-AD0C6334431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C94C066-E889-8BF9-F6DC-DE33A1CC687C}"/>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E0799EB0-A4A0-2B26-AD54-23518084BDA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15CC988-155B-A8D2-8CCA-EB0689A24A58}"/>
              </a:ext>
            </a:extLst>
          </p:cNvPr>
          <p:cNvSpPr>
            <a:spLocks noGrp="1"/>
          </p:cNvSpPr>
          <p:nvPr>
            <p:ph type="sldNum" sz="quarter" idx="12"/>
          </p:nvPr>
        </p:nvSpPr>
        <p:spPr/>
        <p:txBody>
          <a:bodyPr/>
          <a:lstStyle/>
          <a:p>
            <a:fld id="{3F72325A-DC7E-4C04-B741-F2133948C1C0}" type="slidenum">
              <a:rPr lang="en-GB" smtClean="0"/>
              <a:t>‹#›</a:t>
            </a:fld>
            <a:endParaRPr lang="en-GB"/>
          </a:p>
        </p:txBody>
      </p:sp>
    </p:spTree>
    <p:extLst>
      <p:ext uri="{BB962C8B-B14F-4D97-AF65-F5344CB8AC3E}">
        <p14:creationId xmlns:p14="http://schemas.microsoft.com/office/powerpoint/2010/main" val="3467484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771970-EA7A-D7C9-D0CB-B91183E07E25}"/>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4FE96AB2-4822-5BA2-50B0-FBDC8A0DEC5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9514F69-B8B1-11CB-5AEE-267EFC1BE1B5}"/>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F0C3DFC1-CE82-70BC-DDB3-FD5E36753E8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8EAB27A-7E59-99D1-3BAC-2D120A07AF72}"/>
              </a:ext>
            </a:extLst>
          </p:cNvPr>
          <p:cNvSpPr>
            <a:spLocks noGrp="1"/>
          </p:cNvSpPr>
          <p:nvPr>
            <p:ph type="sldNum" sz="quarter" idx="12"/>
          </p:nvPr>
        </p:nvSpPr>
        <p:spPr/>
        <p:txBody>
          <a:bodyPr/>
          <a:lstStyle/>
          <a:p>
            <a:fld id="{3F72325A-DC7E-4C04-B741-F2133948C1C0}" type="slidenum">
              <a:rPr lang="en-GB" smtClean="0"/>
              <a:t>‹#›</a:t>
            </a:fld>
            <a:endParaRPr lang="en-GB"/>
          </a:p>
        </p:txBody>
      </p:sp>
    </p:spTree>
    <p:extLst>
      <p:ext uri="{BB962C8B-B14F-4D97-AF65-F5344CB8AC3E}">
        <p14:creationId xmlns:p14="http://schemas.microsoft.com/office/powerpoint/2010/main" val="9175359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950D27A-9A2F-B3A1-6466-0D3803B20F2B}"/>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6FBA6846-B3AE-3DFE-BCC1-D8B658DFA8C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B956137-D025-285D-7DB1-2C85428D112E}"/>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7DB8B149-FA84-C6F9-D703-F7F28E130FB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1030140-E1CC-CD7C-CFBF-B1C02DDA7CBC}"/>
              </a:ext>
            </a:extLst>
          </p:cNvPr>
          <p:cNvSpPr>
            <a:spLocks noGrp="1"/>
          </p:cNvSpPr>
          <p:nvPr>
            <p:ph type="sldNum" sz="quarter" idx="12"/>
          </p:nvPr>
        </p:nvSpPr>
        <p:spPr/>
        <p:txBody>
          <a:bodyPr/>
          <a:lstStyle/>
          <a:p>
            <a:fld id="{3F72325A-DC7E-4C04-B741-F2133948C1C0}" type="slidenum">
              <a:rPr lang="en-GB" smtClean="0"/>
              <a:t>‹#›</a:t>
            </a:fld>
            <a:endParaRPr lang="en-GB"/>
          </a:p>
        </p:txBody>
      </p:sp>
    </p:spTree>
    <p:extLst>
      <p:ext uri="{BB962C8B-B14F-4D97-AF65-F5344CB8AC3E}">
        <p14:creationId xmlns:p14="http://schemas.microsoft.com/office/powerpoint/2010/main" val="344582600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5C098C1-71E8-4B22-B2ED-200417BF5E60}"/>
              </a:ext>
            </a:extLst>
          </p:cNvPr>
          <p:cNvSpPr>
            <a:spLocks noGrp="1"/>
          </p:cNvSpPr>
          <p:nvPr>
            <p:ph type="dt" sz="half" idx="10"/>
          </p:nvPr>
        </p:nvSpPr>
        <p:spPr/>
        <p:txBody>
          <a:bodyPr/>
          <a:lstStyle/>
          <a:p>
            <a:fld id="{A94D579B-3C01-4188-BC9A-FF71DCE709C8}" type="datetime1">
              <a:rPr lang="en-GB" smtClean="0"/>
              <a:t>07/07/2023</a:t>
            </a:fld>
            <a:endParaRPr lang="en-GB"/>
          </a:p>
        </p:txBody>
      </p:sp>
      <p:sp>
        <p:nvSpPr>
          <p:cNvPr id="3" name="Footer Placeholder 2">
            <a:extLst>
              <a:ext uri="{FF2B5EF4-FFF2-40B4-BE49-F238E27FC236}">
                <a16:creationId xmlns:a16="http://schemas.microsoft.com/office/drawing/2014/main" id="{21598FBE-4FFC-42E7-97AB-C068B7F1CD18}"/>
              </a:ext>
            </a:extLst>
          </p:cNvPr>
          <p:cNvSpPr>
            <a:spLocks noGrp="1"/>
          </p:cNvSpPr>
          <p:nvPr>
            <p:ph type="ftr" sz="quarter" idx="11"/>
          </p:nvPr>
        </p:nvSpPr>
        <p:spPr/>
        <p:txBody>
          <a:bodyPr/>
          <a:lstStyle/>
          <a:p>
            <a:r>
              <a:rPr lang="en-GB"/>
              <a:t>upskilPRO.com</a:t>
            </a:r>
          </a:p>
        </p:txBody>
      </p:sp>
      <p:sp>
        <p:nvSpPr>
          <p:cNvPr id="4" name="Slide Number Placeholder 3">
            <a:extLst>
              <a:ext uri="{FF2B5EF4-FFF2-40B4-BE49-F238E27FC236}">
                <a16:creationId xmlns:a16="http://schemas.microsoft.com/office/drawing/2014/main" id="{6454B076-789E-4240-860A-FA7AF84A9013}"/>
              </a:ext>
            </a:extLst>
          </p:cNvPr>
          <p:cNvSpPr>
            <a:spLocks noGrp="1"/>
          </p:cNvSpPr>
          <p:nvPr>
            <p:ph type="sldNum" sz="quarter" idx="12"/>
          </p:nvPr>
        </p:nvSpPr>
        <p:spPr/>
        <p:txBody>
          <a:bodyPr/>
          <a:lstStyle/>
          <a:p>
            <a:fld id="{DB8828D9-3E6A-477F-A491-AADAE3613DD2}" type="slidenum">
              <a:rPr lang="en-GB" smtClean="0"/>
              <a:t>‹#›</a:t>
            </a:fld>
            <a:endParaRPr lang="en-GB"/>
          </a:p>
        </p:txBody>
      </p:sp>
      <p:sp>
        <p:nvSpPr>
          <p:cNvPr id="5" name="Title 4">
            <a:extLst>
              <a:ext uri="{FF2B5EF4-FFF2-40B4-BE49-F238E27FC236}">
                <a16:creationId xmlns:a16="http://schemas.microsoft.com/office/drawing/2014/main" id="{8441F8CE-FA45-4203-92AB-40694511E10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60734733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DBAB66-43D7-4D23-B676-3B1F62B95C6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7C5DFD13-593F-4B83-B497-E82949CEC21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3BE2FBD2-BE5D-42C6-9063-318435C8F413}"/>
              </a:ext>
            </a:extLst>
          </p:cNvPr>
          <p:cNvSpPr>
            <a:spLocks noGrp="1"/>
          </p:cNvSpPr>
          <p:nvPr>
            <p:ph type="dt" sz="half" idx="10"/>
          </p:nvPr>
        </p:nvSpPr>
        <p:spPr/>
        <p:txBody>
          <a:bodyPr/>
          <a:lstStyle/>
          <a:p>
            <a:fld id="{16A2DCC4-E297-40E3-9363-8C1211D6283D}" type="datetime1">
              <a:rPr lang="en-GB" smtClean="0"/>
              <a:t>07/07/2023</a:t>
            </a:fld>
            <a:endParaRPr lang="en-GB"/>
          </a:p>
        </p:txBody>
      </p:sp>
      <p:sp>
        <p:nvSpPr>
          <p:cNvPr id="5" name="Footer Placeholder 4">
            <a:extLst>
              <a:ext uri="{FF2B5EF4-FFF2-40B4-BE49-F238E27FC236}">
                <a16:creationId xmlns:a16="http://schemas.microsoft.com/office/drawing/2014/main" id="{AC15C7C9-BEB0-4112-AEC8-6EB11104A629}"/>
              </a:ext>
            </a:extLst>
          </p:cNvPr>
          <p:cNvSpPr>
            <a:spLocks noGrp="1"/>
          </p:cNvSpPr>
          <p:nvPr>
            <p:ph type="ftr" sz="quarter" idx="11"/>
          </p:nvPr>
        </p:nvSpPr>
        <p:spPr/>
        <p:txBody>
          <a:bodyPr/>
          <a:lstStyle/>
          <a:p>
            <a:r>
              <a:rPr lang="en-GB"/>
              <a:t>Pricing Strategies 70.7015</a:t>
            </a:r>
          </a:p>
        </p:txBody>
      </p:sp>
      <p:sp>
        <p:nvSpPr>
          <p:cNvPr id="6" name="Slide Number Placeholder 5">
            <a:extLst>
              <a:ext uri="{FF2B5EF4-FFF2-40B4-BE49-F238E27FC236}">
                <a16:creationId xmlns:a16="http://schemas.microsoft.com/office/drawing/2014/main" id="{799478A4-C7D0-44D5-96C0-5C78B61778C6}"/>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426827381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D995F1-1CED-4DD8-AD2E-58EE0A2F91B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08CCB06D-6A7F-4D8A-9A75-6E04102E3BA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A1EE858-AFF7-4F91-9D63-FDA705E140A0}"/>
              </a:ext>
            </a:extLst>
          </p:cNvPr>
          <p:cNvSpPr>
            <a:spLocks noGrp="1"/>
          </p:cNvSpPr>
          <p:nvPr>
            <p:ph type="dt" sz="half" idx="10"/>
          </p:nvPr>
        </p:nvSpPr>
        <p:spPr/>
        <p:txBody>
          <a:bodyPr/>
          <a:lstStyle/>
          <a:p>
            <a:fld id="{4492F0E1-09B2-4347-B90A-16DF82B5B159}" type="datetime1">
              <a:rPr lang="en-GB" smtClean="0"/>
              <a:t>07/07/2023</a:t>
            </a:fld>
            <a:endParaRPr lang="en-GB"/>
          </a:p>
        </p:txBody>
      </p:sp>
      <p:sp>
        <p:nvSpPr>
          <p:cNvPr id="5" name="Footer Placeholder 4">
            <a:extLst>
              <a:ext uri="{FF2B5EF4-FFF2-40B4-BE49-F238E27FC236}">
                <a16:creationId xmlns:a16="http://schemas.microsoft.com/office/drawing/2014/main" id="{3A6138B3-09A7-4D12-B016-A2767CF6C915}"/>
              </a:ext>
            </a:extLst>
          </p:cNvPr>
          <p:cNvSpPr>
            <a:spLocks noGrp="1"/>
          </p:cNvSpPr>
          <p:nvPr>
            <p:ph type="ftr" sz="quarter" idx="11"/>
          </p:nvPr>
        </p:nvSpPr>
        <p:spPr/>
        <p:txBody>
          <a:bodyPr/>
          <a:lstStyle/>
          <a:p>
            <a:r>
              <a:rPr lang="en-GB"/>
              <a:t>Pricing Strategies 70.7015</a:t>
            </a:r>
          </a:p>
        </p:txBody>
      </p:sp>
      <p:sp>
        <p:nvSpPr>
          <p:cNvPr id="6" name="Slide Number Placeholder 5">
            <a:extLst>
              <a:ext uri="{FF2B5EF4-FFF2-40B4-BE49-F238E27FC236}">
                <a16:creationId xmlns:a16="http://schemas.microsoft.com/office/drawing/2014/main" id="{E6B18A36-21BF-433A-9BB2-C025FC6C5280}"/>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42263066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F0E74E-14F0-42A5-89DF-4ACBE585666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D22A29AE-5DA4-4C8E-B867-B56674BE5E3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38D91B3-268F-4029-BC99-C51C6E10FBCB}"/>
              </a:ext>
            </a:extLst>
          </p:cNvPr>
          <p:cNvSpPr>
            <a:spLocks noGrp="1"/>
          </p:cNvSpPr>
          <p:nvPr>
            <p:ph type="dt" sz="half" idx="10"/>
          </p:nvPr>
        </p:nvSpPr>
        <p:spPr/>
        <p:txBody>
          <a:bodyPr/>
          <a:lstStyle/>
          <a:p>
            <a:fld id="{4A2A9D70-71BE-413B-9A94-1D62B209CBF2}" type="datetime1">
              <a:rPr lang="en-GB" smtClean="0"/>
              <a:t>07/07/2023</a:t>
            </a:fld>
            <a:endParaRPr lang="en-GB"/>
          </a:p>
        </p:txBody>
      </p:sp>
      <p:sp>
        <p:nvSpPr>
          <p:cNvPr id="5" name="Footer Placeholder 4">
            <a:extLst>
              <a:ext uri="{FF2B5EF4-FFF2-40B4-BE49-F238E27FC236}">
                <a16:creationId xmlns:a16="http://schemas.microsoft.com/office/drawing/2014/main" id="{8C4D77BE-4624-4A56-B086-4045189DEBC3}"/>
              </a:ext>
            </a:extLst>
          </p:cNvPr>
          <p:cNvSpPr>
            <a:spLocks noGrp="1"/>
          </p:cNvSpPr>
          <p:nvPr>
            <p:ph type="ftr" sz="quarter" idx="11"/>
          </p:nvPr>
        </p:nvSpPr>
        <p:spPr/>
        <p:txBody>
          <a:bodyPr/>
          <a:lstStyle/>
          <a:p>
            <a:r>
              <a:rPr lang="en-GB"/>
              <a:t>Pricing Strategies 70.7015</a:t>
            </a:r>
          </a:p>
        </p:txBody>
      </p:sp>
      <p:sp>
        <p:nvSpPr>
          <p:cNvPr id="6" name="Slide Number Placeholder 5">
            <a:extLst>
              <a:ext uri="{FF2B5EF4-FFF2-40B4-BE49-F238E27FC236}">
                <a16:creationId xmlns:a16="http://schemas.microsoft.com/office/drawing/2014/main" id="{FBF79468-FB5C-439C-9F18-14E715D8DBE5}"/>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253152670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CB21D5-5F4E-4FBF-91B8-277D184BF7FC}"/>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FBB9242-EF46-44C3-8BAF-4624DF25D5F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AF818917-D53E-412C-9BFF-26E4F115E5A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B73C1413-D502-4387-84CC-3BE06650C71E}"/>
              </a:ext>
            </a:extLst>
          </p:cNvPr>
          <p:cNvSpPr>
            <a:spLocks noGrp="1"/>
          </p:cNvSpPr>
          <p:nvPr>
            <p:ph type="dt" sz="half" idx="10"/>
          </p:nvPr>
        </p:nvSpPr>
        <p:spPr/>
        <p:txBody>
          <a:bodyPr/>
          <a:lstStyle/>
          <a:p>
            <a:fld id="{E813EF1E-AB06-4AB1-A7BB-E01EFF7DE3F7}" type="datetime1">
              <a:rPr lang="en-GB" smtClean="0"/>
              <a:t>07/07/2023</a:t>
            </a:fld>
            <a:endParaRPr lang="en-GB"/>
          </a:p>
        </p:txBody>
      </p:sp>
      <p:sp>
        <p:nvSpPr>
          <p:cNvPr id="6" name="Footer Placeholder 5">
            <a:extLst>
              <a:ext uri="{FF2B5EF4-FFF2-40B4-BE49-F238E27FC236}">
                <a16:creationId xmlns:a16="http://schemas.microsoft.com/office/drawing/2014/main" id="{BA216A0B-F011-4551-8626-1F699804806B}"/>
              </a:ext>
            </a:extLst>
          </p:cNvPr>
          <p:cNvSpPr>
            <a:spLocks noGrp="1"/>
          </p:cNvSpPr>
          <p:nvPr>
            <p:ph type="ftr" sz="quarter" idx="11"/>
          </p:nvPr>
        </p:nvSpPr>
        <p:spPr/>
        <p:txBody>
          <a:bodyPr/>
          <a:lstStyle/>
          <a:p>
            <a:r>
              <a:rPr lang="en-GB"/>
              <a:t>Pricing Strategies 70.7015</a:t>
            </a:r>
          </a:p>
        </p:txBody>
      </p:sp>
      <p:sp>
        <p:nvSpPr>
          <p:cNvPr id="7" name="Slide Number Placeholder 6">
            <a:extLst>
              <a:ext uri="{FF2B5EF4-FFF2-40B4-BE49-F238E27FC236}">
                <a16:creationId xmlns:a16="http://schemas.microsoft.com/office/drawing/2014/main" id="{20A071EC-D367-4D8B-BD87-4EAB2693E3B2}"/>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69916172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EC2319-FDBD-499C-A4FE-6F66309B7CAB}"/>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9D9F503D-4021-4B8D-ADF3-FFC595A3A05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2B34918-916B-4409-A45D-4FB758F5018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2A014920-9F26-48C8-9C13-E8D8EED7115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5C5FCB1-BCE2-4B08-97E1-1D4E5124FFB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E1E80249-AF98-4DAC-AA3E-30563F0FC4B3}"/>
              </a:ext>
            </a:extLst>
          </p:cNvPr>
          <p:cNvSpPr>
            <a:spLocks noGrp="1"/>
          </p:cNvSpPr>
          <p:nvPr>
            <p:ph type="dt" sz="half" idx="10"/>
          </p:nvPr>
        </p:nvSpPr>
        <p:spPr/>
        <p:txBody>
          <a:bodyPr/>
          <a:lstStyle/>
          <a:p>
            <a:fld id="{488025D8-9963-41BD-A50A-5D3F3296CDB4}" type="datetime1">
              <a:rPr lang="en-GB" smtClean="0"/>
              <a:t>07/07/2023</a:t>
            </a:fld>
            <a:endParaRPr lang="en-GB"/>
          </a:p>
        </p:txBody>
      </p:sp>
      <p:sp>
        <p:nvSpPr>
          <p:cNvPr id="8" name="Footer Placeholder 7">
            <a:extLst>
              <a:ext uri="{FF2B5EF4-FFF2-40B4-BE49-F238E27FC236}">
                <a16:creationId xmlns:a16="http://schemas.microsoft.com/office/drawing/2014/main" id="{B9771338-D11F-46C2-8221-D6AB69222751}"/>
              </a:ext>
            </a:extLst>
          </p:cNvPr>
          <p:cNvSpPr>
            <a:spLocks noGrp="1"/>
          </p:cNvSpPr>
          <p:nvPr>
            <p:ph type="ftr" sz="quarter" idx="11"/>
          </p:nvPr>
        </p:nvSpPr>
        <p:spPr/>
        <p:txBody>
          <a:bodyPr/>
          <a:lstStyle/>
          <a:p>
            <a:r>
              <a:rPr lang="en-GB"/>
              <a:t>Pricing Strategies 70.7015</a:t>
            </a:r>
          </a:p>
        </p:txBody>
      </p:sp>
      <p:sp>
        <p:nvSpPr>
          <p:cNvPr id="9" name="Slide Number Placeholder 8">
            <a:extLst>
              <a:ext uri="{FF2B5EF4-FFF2-40B4-BE49-F238E27FC236}">
                <a16:creationId xmlns:a16="http://schemas.microsoft.com/office/drawing/2014/main" id="{EF102E98-CCB7-485C-9025-A69C3F7488E4}"/>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40144565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035146-B8C7-A3CA-9273-F7F92C6EB26C}"/>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34685D3-B364-72BE-F5CB-A040498E1AC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0ACD31BE-969F-0E6C-5B72-8B804B37C10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A0C9A0E4-BA8E-1E9B-8A86-5CAFACFDDF66}"/>
              </a:ext>
            </a:extLst>
          </p:cNvPr>
          <p:cNvSpPr>
            <a:spLocks noGrp="1"/>
          </p:cNvSpPr>
          <p:nvPr>
            <p:ph type="dt" sz="half" idx="10"/>
          </p:nvPr>
        </p:nvSpPr>
        <p:spPr/>
        <p:txBody>
          <a:bodyPr/>
          <a:lstStyle/>
          <a:p>
            <a:fld id="{E0E77212-FEB2-4966-BEAF-9AC2950C345D}" type="datetimeFigureOut">
              <a:rPr lang="en-GB" smtClean="0"/>
              <a:t>07/07/2023</a:t>
            </a:fld>
            <a:endParaRPr lang="en-GB"/>
          </a:p>
        </p:txBody>
      </p:sp>
      <p:sp>
        <p:nvSpPr>
          <p:cNvPr id="6" name="Footer Placeholder 5">
            <a:extLst>
              <a:ext uri="{FF2B5EF4-FFF2-40B4-BE49-F238E27FC236}">
                <a16:creationId xmlns:a16="http://schemas.microsoft.com/office/drawing/2014/main" id="{A330AC57-CCF2-DD08-5655-27FD9A6D6C7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D9CCABF-2B0C-A939-0590-5AC3263F524F}"/>
              </a:ext>
            </a:extLst>
          </p:cNvPr>
          <p:cNvSpPr>
            <a:spLocks noGrp="1"/>
          </p:cNvSpPr>
          <p:nvPr>
            <p:ph type="sldNum" sz="quarter" idx="12"/>
          </p:nvPr>
        </p:nvSpPr>
        <p:spPr/>
        <p:txBody>
          <a:bodyPr/>
          <a:lstStyle/>
          <a:p>
            <a:fld id="{83E3B9FD-B342-49D7-8DE4-155C16E449A0}" type="slidenum">
              <a:rPr lang="en-GB" smtClean="0"/>
              <a:t>‹#›</a:t>
            </a:fld>
            <a:endParaRPr lang="en-GB"/>
          </a:p>
        </p:txBody>
      </p:sp>
    </p:spTree>
    <p:extLst>
      <p:ext uri="{BB962C8B-B14F-4D97-AF65-F5344CB8AC3E}">
        <p14:creationId xmlns:p14="http://schemas.microsoft.com/office/powerpoint/2010/main" val="22800530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C832F-EE78-4931-9318-B772FC2C81A0}"/>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D4F495A5-6049-4B3C-9D26-75D3050F46F3}"/>
              </a:ext>
            </a:extLst>
          </p:cNvPr>
          <p:cNvSpPr>
            <a:spLocks noGrp="1"/>
          </p:cNvSpPr>
          <p:nvPr>
            <p:ph type="dt" sz="half" idx="10"/>
          </p:nvPr>
        </p:nvSpPr>
        <p:spPr/>
        <p:txBody>
          <a:bodyPr/>
          <a:lstStyle/>
          <a:p>
            <a:fld id="{F18924DF-5432-4AA0-B4F0-4E2FB2732819}" type="datetime1">
              <a:rPr lang="en-GB" smtClean="0"/>
              <a:t>07/07/2023</a:t>
            </a:fld>
            <a:endParaRPr lang="en-GB"/>
          </a:p>
        </p:txBody>
      </p:sp>
      <p:sp>
        <p:nvSpPr>
          <p:cNvPr id="4" name="Footer Placeholder 3">
            <a:extLst>
              <a:ext uri="{FF2B5EF4-FFF2-40B4-BE49-F238E27FC236}">
                <a16:creationId xmlns:a16="http://schemas.microsoft.com/office/drawing/2014/main" id="{F8B75A9D-2115-4D35-A22D-6573DCB11424}"/>
              </a:ext>
            </a:extLst>
          </p:cNvPr>
          <p:cNvSpPr>
            <a:spLocks noGrp="1"/>
          </p:cNvSpPr>
          <p:nvPr>
            <p:ph type="ftr" sz="quarter" idx="11"/>
          </p:nvPr>
        </p:nvSpPr>
        <p:spPr/>
        <p:txBody>
          <a:bodyPr/>
          <a:lstStyle/>
          <a:p>
            <a:r>
              <a:rPr lang="en-GB"/>
              <a:t>Pricing Strategies 70.7015</a:t>
            </a:r>
          </a:p>
        </p:txBody>
      </p:sp>
      <p:sp>
        <p:nvSpPr>
          <p:cNvPr id="5" name="Slide Number Placeholder 4">
            <a:extLst>
              <a:ext uri="{FF2B5EF4-FFF2-40B4-BE49-F238E27FC236}">
                <a16:creationId xmlns:a16="http://schemas.microsoft.com/office/drawing/2014/main" id="{BF5AEDF6-E8E9-4FEA-8A80-F0ED59C5315F}"/>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245330280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5C098C1-71E8-4B22-B2ED-200417BF5E60}"/>
              </a:ext>
            </a:extLst>
          </p:cNvPr>
          <p:cNvSpPr>
            <a:spLocks noGrp="1"/>
          </p:cNvSpPr>
          <p:nvPr>
            <p:ph type="dt" sz="half" idx="10"/>
          </p:nvPr>
        </p:nvSpPr>
        <p:spPr/>
        <p:txBody>
          <a:bodyPr/>
          <a:lstStyle/>
          <a:p>
            <a:fld id="{50AADADE-EAD0-4277-84DB-90E9D597ECDC}" type="datetime1">
              <a:rPr lang="en-GB" smtClean="0"/>
              <a:t>07/07/2023</a:t>
            </a:fld>
            <a:endParaRPr lang="en-GB"/>
          </a:p>
        </p:txBody>
      </p:sp>
      <p:sp>
        <p:nvSpPr>
          <p:cNvPr id="3" name="Footer Placeholder 2">
            <a:extLst>
              <a:ext uri="{FF2B5EF4-FFF2-40B4-BE49-F238E27FC236}">
                <a16:creationId xmlns:a16="http://schemas.microsoft.com/office/drawing/2014/main" id="{21598FBE-4FFC-42E7-97AB-C068B7F1CD18}"/>
              </a:ext>
            </a:extLst>
          </p:cNvPr>
          <p:cNvSpPr>
            <a:spLocks noGrp="1"/>
          </p:cNvSpPr>
          <p:nvPr>
            <p:ph type="ftr" sz="quarter" idx="11"/>
          </p:nvPr>
        </p:nvSpPr>
        <p:spPr/>
        <p:txBody>
          <a:bodyPr/>
          <a:lstStyle/>
          <a:p>
            <a:r>
              <a:rPr lang="en-GB"/>
              <a:t>Pricing Strategies 70.7015</a:t>
            </a:r>
          </a:p>
        </p:txBody>
      </p:sp>
      <p:sp>
        <p:nvSpPr>
          <p:cNvPr id="4" name="Slide Number Placeholder 3">
            <a:extLst>
              <a:ext uri="{FF2B5EF4-FFF2-40B4-BE49-F238E27FC236}">
                <a16:creationId xmlns:a16="http://schemas.microsoft.com/office/drawing/2014/main" id="{6454B076-789E-4240-860A-FA7AF84A9013}"/>
              </a:ext>
            </a:extLst>
          </p:cNvPr>
          <p:cNvSpPr>
            <a:spLocks noGrp="1"/>
          </p:cNvSpPr>
          <p:nvPr>
            <p:ph type="sldNum" sz="quarter" idx="12"/>
          </p:nvPr>
        </p:nvSpPr>
        <p:spPr/>
        <p:txBody>
          <a:bodyPr/>
          <a:lstStyle/>
          <a:p>
            <a:fld id="{DB8828D9-3E6A-477F-A491-AADAE3613DD2}" type="slidenum">
              <a:rPr lang="en-GB" smtClean="0"/>
              <a:t>‹#›</a:t>
            </a:fld>
            <a:endParaRPr lang="en-GB"/>
          </a:p>
        </p:txBody>
      </p:sp>
      <p:sp>
        <p:nvSpPr>
          <p:cNvPr id="6" name="Title 1">
            <a:extLst>
              <a:ext uri="{FF2B5EF4-FFF2-40B4-BE49-F238E27FC236}">
                <a16:creationId xmlns:a16="http://schemas.microsoft.com/office/drawing/2014/main" id="{B7DDF1C1-446B-4596-8FEC-4642E44B77F0}"/>
              </a:ext>
            </a:extLst>
          </p:cNvPr>
          <p:cNvSpPr txBox="1">
            <a:spLocks/>
          </p:cNvSpPr>
          <p:nvPr userDrawn="1"/>
        </p:nvSpPr>
        <p:spPr>
          <a:xfrm>
            <a:off x="9448800" y="0"/>
            <a:ext cx="2743200" cy="13255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1000" kern="1200">
                <a:solidFill>
                  <a:schemeClr val="tx1"/>
                </a:solidFill>
                <a:latin typeface="+mj-lt"/>
                <a:ea typeface="+mj-ea"/>
                <a:cs typeface="+mj-cs"/>
              </a:defRPr>
            </a:lvl1pPr>
          </a:lstStyle>
          <a:p>
            <a:endParaRPr lang="en-GB" dirty="0"/>
          </a:p>
        </p:txBody>
      </p:sp>
    </p:spTree>
    <p:extLst>
      <p:ext uri="{BB962C8B-B14F-4D97-AF65-F5344CB8AC3E}">
        <p14:creationId xmlns:p14="http://schemas.microsoft.com/office/powerpoint/2010/main" val="168687074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A29E27F9-69DF-424C-876F-05881921F1EE}"/>
              </a:ext>
            </a:extLst>
          </p:cNvPr>
          <p:cNvSpPr>
            <a:spLocks noGrp="1"/>
          </p:cNvSpPr>
          <p:nvPr>
            <p:ph type="dt" sz="half" idx="10"/>
          </p:nvPr>
        </p:nvSpPr>
        <p:spPr/>
        <p:txBody>
          <a:bodyPr/>
          <a:lstStyle/>
          <a:p>
            <a:fld id="{80F7EC3E-B6B0-49E2-B928-9EA43318526D}" type="datetime1">
              <a:rPr lang="en-GB" smtClean="0"/>
              <a:t>07/07/2023</a:t>
            </a:fld>
            <a:endParaRPr lang="en-GB"/>
          </a:p>
        </p:txBody>
      </p:sp>
      <p:sp>
        <p:nvSpPr>
          <p:cNvPr id="4" name="Footer Placeholder 3">
            <a:extLst>
              <a:ext uri="{FF2B5EF4-FFF2-40B4-BE49-F238E27FC236}">
                <a16:creationId xmlns:a16="http://schemas.microsoft.com/office/drawing/2014/main" id="{C4DC8212-8094-49DC-9E28-1E402AA2450B}"/>
              </a:ext>
            </a:extLst>
          </p:cNvPr>
          <p:cNvSpPr>
            <a:spLocks noGrp="1"/>
          </p:cNvSpPr>
          <p:nvPr>
            <p:ph type="ftr" sz="quarter" idx="11"/>
          </p:nvPr>
        </p:nvSpPr>
        <p:spPr/>
        <p:txBody>
          <a:bodyPr/>
          <a:lstStyle/>
          <a:p>
            <a:r>
              <a:rPr lang="en-GB"/>
              <a:t>Pricing Strategies 70.7015</a:t>
            </a:r>
          </a:p>
        </p:txBody>
      </p:sp>
      <p:sp>
        <p:nvSpPr>
          <p:cNvPr id="5" name="Slide Number Placeholder 4">
            <a:extLst>
              <a:ext uri="{FF2B5EF4-FFF2-40B4-BE49-F238E27FC236}">
                <a16:creationId xmlns:a16="http://schemas.microsoft.com/office/drawing/2014/main" id="{D155AC0F-1E39-47B9-8D1E-CF474F9AA32A}"/>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76261867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6A0BCE-0E2C-4536-B418-8574A4E720CD}"/>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D1221F61-807E-4106-B50B-801773ECEB88}"/>
              </a:ext>
            </a:extLst>
          </p:cNvPr>
          <p:cNvSpPr>
            <a:spLocks noGrp="1"/>
          </p:cNvSpPr>
          <p:nvPr>
            <p:ph type="dt" sz="half" idx="10"/>
          </p:nvPr>
        </p:nvSpPr>
        <p:spPr/>
        <p:txBody>
          <a:bodyPr/>
          <a:lstStyle/>
          <a:p>
            <a:fld id="{80F7EC3E-B6B0-49E2-B928-9EA43318526D}" type="datetime1">
              <a:rPr lang="en-GB" smtClean="0"/>
              <a:t>07/07/2023</a:t>
            </a:fld>
            <a:endParaRPr lang="en-GB"/>
          </a:p>
        </p:txBody>
      </p:sp>
      <p:sp>
        <p:nvSpPr>
          <p:cNvPr id="4" name="Footer Placeholder 3">
            <a:extLst>
              <a:ext uri="{FF2B5EF4-FFF2-40B4-BE49-F238E27FC236}">
                <a16:creationId xmlns:a16="http://schemas.microsoft.com/office/drawing/2014/main" id="{0D69D2A0-CB04-4202-BF42-2101DE932E40}"/>
              </a:ext>
            </a:extLst>
          </p:cNvPr>
          <p:cNvSpPr>
            <a:spLocks noGrp="1"/>
          </p:cNvSpPr>
          <p:nvPr>
            <p:ph type="ftr" sz="quarter" idx="11"/>
          </p:nvPr>
        </p:nvSpPr>
        <p:spPr/>
        <p:txBody>
          <a:bodyPr/>
          <a:lstStyle/>
          <a:p>
            <a:r>
              <a:rPr lang="en-GB"/>
              <a:t>Pricing Strategies 70.7015</a:t>
            </a:r>
          </a:p>
        </p:txBody>
      </p:sp>
      <p:sp>
        <p:nvSpPr>
          <p:cNvPr id="5" name="Slide Number Placeholder 4">
            <a:extLst>
              <a:ext uri="{FF2B5EF4-FFF2-40B4-BE49-F238E27FC236}">
                <a16:creationId xmlns:a16="http://schemas.microsoft.com/office/drawing/2014/main" id="{2A5E1C0A-A58A-4E0D-95B4-1D4269A652BC}"/>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2197032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F66B4A-E7A4-44F7-B8CE-FC04A86BDA7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89D41C53-EA93-4DE4-A7CA-AC3B4C39242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A1EE0D3-B655-497B-BAB9-F59F9F335B1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8EE32D0-96FF-4D4E-89BA-D8BB6700C214}"/>
              </a:ext>
            </a:extLst>
          </p:cNvPr>
          <p:cNvSpPr>
            <a:spLocks noGrp="1"/>
          </p:cNvSpPr>
          <p:nvPr>
            <p:ph type="dt" sz="half" idx="10"/>
          </p:nvPr>
        </p:nvSpPr>
        <p:spPr/>
        <p:txBody>
          <a:bodyPr/>
          <a:lstStyle/>
          <a:p>
            <a:fld id="{41E74C8D-1576-458B-AEA2-8A140093FF95}" type="datetime1">
              <a:rPr lang="en-GB" smtClean="0"/>
              <a:t>07/07/2023</a:t>
            </a:fld>
            <a:endParaRPr lang="en-GB"/>
          </a:p>
        </p:txBody>
      </p:sp>
      <p:sp>
        <p:nvSpPr>
          <p:cNvPr id="6" name="Footer Placeholder 5">
            <a:extLst>
              <a:ext uri="{FF2B5EF4-FFF2-40B4-BE49-F238E27FC236}">
                <a16:creationId xmlns:a16="http://schemas.microsoft.com/office/drawing/2014/main" id="{D2FCD752-B348-430F-A7F6-F30339526C4C}"/>
              </a:ext>
            </a:extLst>
          </p:cNvPr>
          <p:cNvSpPr>
            <a:spLocks noGrp="1"/>
          </p:cNvSpPr>
          <p:nvPr>
            <p:ph type="ftr" sz="quarter" idx="11"/>
          </p:nvPr>
        </p:nvSpPr>
        <p:spPr/>
        <p:txBody>
          <a:bodyPr/>
          <a:lstStyle/>
          <a:p>
            <a:r>
              <a:rPr lang="en-GB"/>
              <a:t>Pricing Strategies 70.7015</a:t>
            </a:r>
          </a:p>
        </p:txBody>
      </p:sp>
      <p:sp>
        <p:nvSpPr>
          <p:cNvPr id="7" name="Slide Number Placeholder 6">
            <a:extLst>
              <a:ext uri="{FF2B5EF4-FFF2-40B4-BE49-F238E27FC236}">
                <a16:creationId xmlns:a16="http://schemas.microsoft.com/office/drawing/2014/main" id="{9ECD9FAF-106A-48D7-ADE7-D2180FB4FB89}"/>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197377789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805A43-DCA0-41F0-901E-EDFCA50532A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1ACB8440-E897-4696-B6CC-41BA9C2AA1C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628A45FA-A158-4E0C-83E8-BD6F4FEE0B5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9505CE2-129D-4625-AA52-864088CDE10F}"/>
              </a:ext>
            </a:extLst>
          </p:cNvPr>
          <p:cNvSpPr>
            <a:spLocks noGrp="1"/>
          </p:cNvSpPr>
          <p:nvPr>
            <p:ph type="dt" sz="half" idx="10"/>
          </p:nvPr>
        </p:nvSpPr>
        <p:spPr/>
        <p:txBody>
          <a:bodyPr/>
          <a:lstStyle/>
          <a:p>
            <a:fld id="{4E9DC4C7-3056-4FAE-8518-56A1CBF4F790}" type="datetime1">
              <a:rPr lang="en-GB" smtClean="0"/>
              <a:t>07/07/2023</a:t>
            </a:fld>
            <a:endParaRPr lang="en-GB"/>
          </a:p>
        </p:txBody>
      </p:sp>
      <p:sp>
        <p:nvSpPr>
          <p:cNvPr id="6" name="Footer Placeholder 5">
            <a:extLst>
              <a:ext uri="{FF2B5EF4-FFF2-40B4-BE49-F238E27FC236}">
                <a16:creationId xmlns:a16="http://schemas.microsoft.com/office/drawing/2014/main" id="{3023195A-2B34-498C-9D0E-C13D2CCA64D1}"/>
              </a:ext>
            </a:extLst>
          </p:cNvPr>
          <p:cNvSpPr>
            <a:spLocks noGrp="1"/>
          </p:cNvSpPr>
          <p:nvPr>
            <p:ph type="ftr" sz="quarter" idx="11"/>
          </p:nvPr>
        </p:nvSpPr>
        <p:spPr/>
        <p:txBody>
          <a:bodyPr/>
          <a:lstStyle/>
          <a:p>
            <a:r>
              <a:rPr lang="en-GB"/>
              <a:t>Pricing Strategies 70.7015</a:t>
            </a:r>
          </a:p>
        </p:txBody>
      </p:sp>
      <p:sp>
        <p:nvSpPr>
          <p:cNvPr id="7" name="Slide Number Placeholder 6">
            <a:extLst>
              <a:ext uri="{FF2B5EF4-FFF2-40B4-BE49-F238E27FC236}">
                <a16:creationId xmlns:a16="http://schemas.microsoft.com/office/drawing/2014/main" id="{A075148F-3B75-4F9E-90DB-60757DC85EC4}"/>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139412438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09A755-F81E-4BAA-A7D7-3174D7F96552}"/>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2C0E6F9-CE8F-427D-B508-88933A9DB6F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DEFE9C2-5D60-4BEF-A1BE-39EAABC19B35}"/>
              </a:ext>
            </a:extLst>
          </p:cNvPr>
          <p:cNvSpPr>
            <a:spLocks noGrp="1"/>
          </p:cNvSpPr>
          <p:nvPr>
            <p:ph type="dt" sz="half" idx="10"/>
          </p:nvPr>
        </p:nvSpPr>
        <p:spPr/>
        <p:txBody>
          <a:bodyPr/>
          <a:lstStyle/>
          <a:p>
            <a:fld id="{1ED1DA45-B200-4E4A-9C83-560BF7B06F06}" type="datetime1">
              <a:rPr lang="en-GB" smtClean="0"/>
              <a:t>07/07/2023</a:t>
            </a:fld>
            <a:endParaRPr lang="en-GB"/>
          </a:p>
        </p:txBody>
      </p:sp>
      <p:sp>
        <p:nvSpPr>
          <p:cNvPr id="5" name="Footer Placeholder 4">
            <a:extLst>
              <a:ext uri="{FF2B5EF4-FFF2-40B4-BE49-F238E27FC236}">
                <a16:creationId xmlns:a16="http://schemas.microsoft.com/office/drawing/2014/main" id="{D58336F7-E3B8-49AD-BE01-BC454EEA5799}"/>
              </a:ext>
            </a:extLst>
          </p:cNvPr>
          <p:cNvSpPr>
            <a:spLocks noGrp="1"/>
          </p:cNvSpPr>
          <p:nvPr>
            <p:ph type="ftr" sz="quarter" idx="11"/>
          </p:nvPr>
        </p:nvSpPr>
        <p:spPr/>
        <p:txBody>
          <a:bodyPr/>
          <a:lstStyle/>
          <a:p>
            <a:r>
              <a:rPr lang="en-GB"/>
              <a:t>Pricing Strategies 70.7015</a:t>
            </a:r>
          </a:p>
        </p:txBody>
      </p:sp>
      <p:sp>
        <p:nvSpPr>
          <p:cNvPr id="6" name="Slide Number Placeholder 5">
            <a:extLst>
              <a:ext uri="{FF2B5EF4-FFF2-40B4-BE49-F238E27FC236}">
                <a16:creationId xmlns:a16="http://schemas.microsoft.com/office/drawing/2014/main" id="{A58A80A4-D8BB-4A60-9C5A-073A9243F313}"/>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230540510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E964F0F-8C74-4E75-8DC6-E48173FF73DD}"/>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9EFF4FA4-4833-4A2B-959E-D81E1622174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E60ABF4-3A88-4EC9-883D-D638143713DA}"/>
              </a:ext>
            </a:extLst>
          </p:cNvPr>
          <p:cNvSpPr>
            <a:spLocks noGrp="1"/>
          </p:cNvSpPr>
          <p:nvPr>
            <p:ph type="dt" sz="half" idx="10"/>
          </p:nvPr>
        </p:nvSpPr>
        <p:spPr/>
        <p:txBody>
          <a:bodyPr/>
          <a:lstStyle/>
          <a:p>
            <a:fld id="{740671B1-7DE3-4DFC-AC20-FBDB2625C8A8}" type="datetime1">
              <a:rPr lang="en-GB" smtClean="0"/>
              <a:t>07/07/2023</a:t>
            </a:fld>
            <a:endParaRPr lang="en-GB"/>
          </a:p>
        </p:txBody>
      </p:sp>
      <p:sp>
        <p:nvSpPr>
          <p:cNvPr id="5" name="Footer Placeholder 4">
            <a:extLst>
              <a:ext uri="{FF2B5EF4-FFF2-40B4-BE49-F238E27FC236}">
                <a16:creationId xmlns:a16="http://schemas.microsoft.com/office/drawing/2014/main" id="{8088AA6A-C5D8-405B-B3F1-380AE8F00FAE}"/>
              </a:ext>
            </a:extLst>
          </p:cNvPr>
          <p:cNvSpPr>
            <a:spLocks noGrp="1"/>
          </p:cNvSpPr>
          <p:nvPr>
            <p:ph type="ftr" sz="quarter" idx="11"/>
          </p:nvPr>
        </p:nvSpPr>
        <p:spPr/>
        <p:txBody>
          <a:bodyPr/>
          <a:lstStyle/>
          <a:p>
            <a:r>
              <a:rPr lang="en-GB"/>
              <a:t>Pricing Strategies 70.7015</a:t>
            </a:r>
          </a:p>
        </p:txBody>
      </p:sp>
      <p:sp>
        <p:nvSpPr>
          <p:cNvPr id="6" name="Slide Number Placeholder 5">
            <a:extLst>
              <a:ext uri="{FF2B5EF4-FFF2-40B4-BE49-F238E27FC236}">
                <a16:creationId xmlns:a16="http://schemas.microsoft.com/office/drawing/2014/main" id="{67668802-CC13-4BA8-8423-87FE7F3BD006}"/>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287377732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5C098C1-71E8-4B22-B2ED-200417BF5E60}"/>
              </a:ext>
            </a:extLst>
          </p:cNvPr>
          <p:cNvSpPr>
            <a:spLocks noGrp="1"/>
          </p:cNvSpPr>
          <p:nvPr>
            <p:ph type="dt" sz="half" idx="10"/>
          </p:nvPr>
        </p:nvSpPr>
        <p:spPr/>
        <p:txBody>
          <a:bodyPr/>
          <a:lstStyle/>
          <a:p>
            <a:fld id="{A94D579B-3C01-4188-BC9A-FF71DCE709C8}" type="datetime1">
              <a:rPr lang="en-GB" smtClean="0"/>
              <a:t>07/07/2023</a:t>
            </a:fld>
            <a:endParaRPr lang="en-GB"/>
          </a:p>
        </p:txBody>
      </p:sp>
      <p:sp>
        <p:nvSpPr>
          <p:cNvPr id="3" name="Footer Placeholder 2">
            <a:extLst>
              <a:ext uri="{FF2B5EF4-FFF2-40B4-BE49-F238E27FC236}">
                <a16:creationId xmlns:a16="http://schemas.microsoft.com/office/drawing/2014/main" id="{21598FBE-4FFC-42E7-97AB-C068B7F1CD18}"/>
              </a:ext>
            </a:extLst>
          </p:cNvPr>
          <p:cNvSpPr>
            <a:spLocks noGrp="1"/>
          </p:cNvSpPr>
          <p:nvPr>
            <p:ph type="ftr" sz="quarter" idx="11"/>
          </p:nvPr>
        </p:nvSpPr>
        <p:spPr/>
        <p:txBody>
          <a:bodyPr/>
          <a:lstStyle/>
          <a:p>
            <a:r>
              <a:rPr lang="en-GB"/>
              <a:t>upskilPRO.com</a:t>
            </a:r>
          </a:p>
        </p:txBody>
      </p:sp>
      <p:sp>
        <p:nvSpPr>
          <p:cNvPr id="4" name="Slide Number Placeholder 3">
            <a:extLst>
              <a:ext uri="{FF2B5EF4-FFF2-40B4-BE49-F238E27FC236}">
                <a16:creationId xmlns:a16="http://schemas.microsoft.com/office/drawing/2014/main" id="{6454B076-789E-4240-860A-FA7AF84A9013}"/>
              </a:ext>
            </a:extLst>
          </p:cNvPr>
          <p:cNvSpPr>
            <a:spLocks noGrp="1"/>
          </p:cNvSpPr>
          <p:nvPr>
            <p:ph type="sldNum" sz="quarter" idx="12"/>
          </p:nvPr>
        </p:nvSpPr>
        <p:spPr/>
        <p:txBody>
          <a:bodyPr/>
          <a:lstStyle/>
          <a:p>
            <a:fld id="{DB8828D9-3E6A-477F-A491-AADAE3613DD2}" type="slidenum">
              <a:rPr lang="en-GB" smtClean="0"/>
              <a:t>‹#›</a:t>
            </a:fld>
            <a:endParaRPr lang="en-GB"/>
          </a:p>
        </p:txBody>
      </p:sp>
      <p:sp>
        <p:nvSpPr>
          <p:cNvPr id="5" name="Title 4">
            <a:extLst>
              <a:ext uri="{FF2B5EF4-FFF2-40B4-BE49-F238E27FC236}">
                <a16:creationId xmlns:a16="http://schemas.microsoft.com/office/drawing/2014/main" id="{8441F8CE-FA45-4203-92AB-40694511E10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81658920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C867DD-F73F-CAE5-F325-3F6006374AF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2D2D63D3-AA72-389A-4ED6-9E767602D79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1B8DD0AF-5A66-AB1A-3A94-4046D46AF3B8}"/>
              </a:ext>
            </a:extLst>
          </p:cNvPr>
          <p:cNvSpPr>
            <a:spLocks noGrp="1"/>
          </p:cNvSpPr>
          <p:nvPr>
            <p:ph type="dt" sz="half" idx="10"/>
          </p:nvPr>
        </p:nvSpPr>
        <p:spPr/>
        <p:txBody>
          <a:bodyPr/>
          <a:lstStyle/>
          <a:p>
            <a:fld id="{4610F6F6-52F1-4BDD-928D-84928DA9612C}" type="datetimeFigureOut">
              <a:rPr lang="en-GB" smtClean="0"/>
              <a:t>07/07/2023</a:t>
            </a:fld>
            <a:endParaRPr lang="en-GB"/>
          </a:p>
        </p:txBody>
      </p:sp>
      <p:sp>
        <p:nvSpPr>
          <p:cNvPr id="5" name="Footer Placeholder 4">
            <a:extLst>
              <a:ext uri="{FF2B5EF4-FFF2-40B4-BE49-F238E27FC236}">
                <a16:creationId xmlns:a16="http://schemas.microsoft.com/office/drawing/2014/main" id="{AF1FCE6F-0ACB-7A70-1941-CB30BA81783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775BFF0-EE3D-39F3-4F56-A6939C3AFDA9}"/>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2616944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A9A1E2-9643-D53E-71C2-78B0CD39BA14}"/>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05B5A6D-8A43-5792-8C5F-0F4A0653FA2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0621E4E-6957-C677-DD25-D4652C90179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1119B6EA-AA09-9806-61D0-15A0C58DA04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13A817D-9D34-EE8A-B89E-477AE12BE52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45F3994E-1CC1-2695-97BA-F1696F22A132}"/>
              </a:ext>
            </a:extLst>
          </p:cNvPr>
          <p:cNvSpPr>
            <a:spLocks noGrp="1"/>
          </p:cNvSpPr>
          <p:nvPr>
            <p:ph type="dt" sz="half" idx="10"/>
          </p:nvPr>
        </p:nvSpPr>
        <p:spPr/>
        <p:txBody>
          <a:bodyPr/>
          <a:lstStyle/>
          <a:p>
            <a:fld id="{E0E77212-FEB2-4966-BEAF-9AC2950C345D}" type="datetimeFigureOut">
              <a:rPr lang="en-GB" smtClean="0"/>
              <a:t>07/07/2023</a:t>
            </a:fld>
            <a:endParaRPr lang="en-GB"/>
          </a:p>
        </p:txBody>
      </p:sp>
      <p:sp>
        <p:nvSpPr>
          <p:cNvPr id="8" name="Footer Placeholder 7">
            <a:extLst>
              <a:ext uri="{FF2B5EF4-FFF2-40B4-BE49-F238E27FC236}">
                <a16:creationId xmlns:a16="http://schemas.microsoft.com/office/drawing/2014/main" id="{EDFEEE7F-3A3F-73EB-CD22-E7FBBEDF9587}"/>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BFAA0F16-9B74-C7B6-84F1-288E619A6DE2}"/>
              </a:ext>
            </a:extLst>
          </p:cNvPr>
          <p:cNvSpPr>
            <a:spLocks noGrp="1"/>
          </p:cNvSpPr>
          <p:nvPr>
            <p:ph type="sldNum" sz="quarter" idx="12"/>
          </p:nvPr>
        </p:nvSpPr>
        <p:spPr/>
        <p:txBody>
          <a:bodyPr/>
          <a:lstStyle/>
          <a:p>
            <a:fld id="{83E3B9FD-B342-49D7-8DE4-155C16E449A0}" type="slidenum">
              <a:rPr lang="en-GB" smtClean="0"/>
              <a:t>‹#›</a:t>
            </a:fld>
            <a:endParaRPr lang="en-GB"/>
          </a:p>
        </p:txBody>
      </p:sp>
    </p:spTree>
    <p:extLst>
      <p:ext uri="{BB962C8B-B14F-4D97-AF65-F5344CB8AC3E}">
        <p14:creationId xmlns:p14="http://schemas.microsoft.com/office/powerpoint/2010/main" val="60724212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056946-9B08-9C4A-69AC-5F407ADB81D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7B2CAE8-EF22-92A1-0AD1-8612F7C6E97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AE40AB0-BC3E-DF50-ADB0-C680F160E6FA}"/>
              </a:ext>
            </a:extLst>
          </p:cNvPr>
          <p:cNvSpPr>
            <a:spLocks noGrp="1"/>
          </p:cNvSpPr>
          <p:nvPr>
            <p:ph type="dt" sz="half" idx="10"/>
          </p:nvPr>
        </p:nvSpPr>
        <p:spPr/>
        <p:txBody>
          <a:bodyPr/>
          <a:lstStyle/>
          <a:p>
            <a:fld id="{4610F6F6-52F1-4BDD-928D-84928DA9612C}" type="datetimeFigureOut">
              <a:rPr lang="en-GB" smtClean="0"/>
              <a:t>07/07/2023</a:t>
            </a:fld>
            <a:endParaRPr lang="en-GB"/>
          </a:p>
        </p:txBody>
      </p:sp>
      <p:sp>
        <p:nvSpPr>
          <p:cNvPr id="5" name="Footer Placeholder 4">
            <a:extLst>
              <a:ext uri="{FF2B5EF4-FFF2-40B4-BE49-F238E27FC236}">
                <a16:creationId xmlns:a16="http://schemas.microsoft.com/office/drawing/2014/main" id="{D554C201-C3C8-989E-1177-6B970AA1608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DF527D8-BE55-F8A0-72CD-3BD30B74975D}"/>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49144898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97355A-913B-2387-09AA-F0FD9132130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FA8E49ED-D81A-99E5-10F7-9A99D26E31D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07EAC30-4686-79E8-3040-4AA953DFACF7}"/>
              </a:ext>
            </a:extLst>
          </p:cNvPr>
          <p:cNvSpPr>
            <a:spLocks noGrp="1"/>
          </p:cNvSpPr>
          <p:nvPr>
            <p:ph type="dt" sz="half" idx="10"/>
          </p:nvPr>
        </p:nvSpPr>
        <p:spPr/>
        <p:txBody>
          <a:bodyPr/>
          <a:lstStyle/>
          <a:p>
            <a:fld id="{4610F6F6-52F1-4BDD-928D-84928DA9612C}" type="datetimeFigureOut">
              <a:rPr lang="en-GB" smtClean="0"/>
              <a:t>07/07/2023</a:t>
            </a:fld>
            <a:endParaRPr lang="en-GB"/>
          </a:p>
        </p:txBody>
      </p:sp>
      <p:sp>
        <p:nvSpPr>
          <p:cNvPr id="5" name="Footer Placeholder 4">
            <a:extLst>
              <a:ext uri="{FF2B5EF4-FFF2-40B4-BE49-F238E27FC236}">
                <a16:creationId xmlns:a16="http://schemas.microsoft.com/office/drawing/2014/main" id="{50D3B583-AA79-662A-1815-399BD4ADE1A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F1513CD-D500-234C-6252-7E045808EBB3}"/>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91346726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16B76-0F50-4D2F-4DA9-A06854D94421}"/>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20D2E1D-BF93-B365-B991-353210E75DB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710FF946-5974-1379-52C7-5E197C587F4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E00E551B-A662-722E-CFD7-E62F111E9CF0}"/>
              </a:ext>
            </a:extLst>
          </p:cNvPr>
          <p:cNvSpPr>
            <a:spLocks noGrp="1"/>
          </p:cNvSpPr>
          <p:nvPr>
            <p:ph type="dt" sz="half" idx="10"/>
          </p:nvPr>
        </p:nvSpPr>
        <p:spPr/>
        <p:txBody>
          <a:bodyPr/>
          <a:lstStyle/>
          <a:p>
            <a:fld id="{4610F6F6-52F1-4BDD-928D-84928DA9612C}" type="datetimeFigureOut">
              <a:rPr lang="en-GB" smtClean="0"/>
              <a:t>07/07/2023</a:t>
            </a:fld>
            <a:endParaRPr lang="en-GB"/>
          </a:p>
        </p:txBody>
      </p:sp>
      <p:sp>
        <p:nvSpPr>
          <p:cNvPr id="6" name="Footer Placeholder 5">
            <a:extLst>
              <a:ext uri="{FF2B5EF4-FFF2-40B4-BE49-F238E27FC236}">
                <a16:creationId xmlns:a16="http://schemas.microsoft.com/office/drawing/2014/main" id="{E91AA349-0BC9-1221-1764-FADB29104B1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74BA6B4-4C97-35DE-432B-5607FBCCBB81}"/>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252068535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E0ED3-D493-C3DB-532A-39ED90D283E0}"/>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7B364F44-5B11-F53F-8DAC-9F34D584AFF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0B13A68-EFCE-54D4-07C2-A727B4AE57F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F04966FB-0E95-EC49-A163-60175D23213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EEFDBF4-D87D-5C9F-19C4-D666C161105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C1638874-DAC4-6C61-C947-AD9774C7A073}"/>
              </a:ext>
            </a:extLst>
          </p:cNvPr>
          <p:cNvSpPr>
            <a:spLocks noGrp="1"/>
          </p:cNvSpPr>
          <p:nvPr>
            <p:ph type="dt" sz="half" idx="10"/>
          </p:nvPr>
        </p:nvSpPr>
        <p:spPr/>
        <p:txBody>
          <a:bodyPr/>
          <a:lstStyle/>
          <a:p>
            <a:fld id="{4610F6F6-52F1-4BDD-928D-84928DA9612C}" type="datetimeFigureOut">
              <a:rPr lang="en-GB" smtClean="0"/>
              <a:t>07/07/2023</a:t>
            </a:fld>
            <a:endParaRPr lang="en-GB"/>
          </a:p>
        </p:txBody>
      </p:sp>
      <p:sp>
        <p:nvSpPr>
          <p:cNvPr id="8" name="Footer Placeholder 7">
            <a:extLst>
              <a:ext uri="{FF2B5EF4-FFF2-40B4-BE49-F238E27FC236}">
                <a16:creationId xmlns:a16="http://schemas.microsoft.com/office/drawing/2014/main" id="{96F8607D-3FE7-1DB1-97B1-0E9700A21EE0}"/>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0E23A4CC-E926-E7C8-D3E1-5799C22F40FF}"/>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240565825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B7437E-132E-CC88-1B68-4639DA12A533}"/>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DBACED2E-97A6-2832-A35C-03BF3E23CA02}"/>
              </a:ext>
            </a:extLst>
          </p:cNvPr>
          <p:cNvSpPr>
            <a:spLocks noGrp="1"/>
          </p:cNvSpPr>
          <p:nvPr>
            <p:ph type="dt" sz="half" idx="10"/>
          </p:nvPr>
        </p:nvSpPr>
        <p:spPr/>
        <p:txBody>
          <a:bodyPr/>
          <a:lstStyle/>
          <a:p>
            <a:fld id="{4610F6F6-52F1-4BDD-928D-84928DA9612C}" type="datetimeFigureOut">
              <a:rPr lang="en-GB" smtClean="0"/>
              <a:t>07/07/2023</a:t>
            </a:fld>
            <a:endParaRPr lang="en-GB"/>
          </a:p>
        </p:txBody>
      </p:sp>
      <p:sp>
        <p:nvSpPr>
          <p:cNvPr id="4" name="Footer Placeholder 3">
            <a:extLst>
              <a:ext uri="{FF2B5EF4-FFF2-40B4-BE49-F238E27FC236}">
                <a16:creationId xmlns:a16="http://schemas.microsoft.com/office/drawing/2014/main" id="{E30BD27F-6B42-0D77-9BEF-87F9B4A66EC0}"/>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5873083F-4BAE-1158-0303-353BD4FEE18D}"/>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113198987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D4A496C-79B2-EFAB-DD2C-E3B80D076CBD}"/>
              </a:ext>
            </a:extLst>
          </p:cNvPr>
          <p:cNvSpPr>
            <a:spLocks noGrp="1"/>
          </p:cNvSpPr>
          <p:nvPr>
            <p:ph type="dt" sz="half" idx="10"/>
          </p:nvPr>
        </p:nvSpPr>
        <p:spPr/>
        <p:txBody>
          <a:bodyPr/>
          <a:lstStyle/>
          <a:p>
            <a:fld id="{4610F6F6-52F1-4BDD-928D-84928DA9612C}" type="datetimeFigureOut">
              <a:rPr lang="en-GB" smtClean="0"/>
              <a:t>07/07/2023</a:t>
            </a:fld>
            <a:endParaRPr lang="en-GB"/>
          </a:p>
        </p:txBody>
      </p:sp>
      <p:sp>
        <p:nvSpPr>
          <p:cNvPr id="3" name="Footer Placeholder 2">
            <a:extLst>
              <a:ext uri="{FF2B5EF4-FFF2-40B4-BE49-F238E27FC236}">
                <a16:creationId xmlns:a16="http://schemas.microsoft.com/office/drawing/2014/main" id="{9DBDF779-298B-FAA7-AE29-755DF0C9C43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1AA7C315-AC97-8A11-720E-342C8424B1AE}"/>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52946114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1CA902-1304-B98A-3676-C49BFD79E86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3EA31ED-7586-1178-86D1-B0AA8B286E9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7B3F05A1-798F-5117-E008-E405447A407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6C77961-4AD2-FA8D-6C9D-BDD18960C3C8}"/>
              </a:ext>
            </a:extLst>
          </p:cNvPr>
          <p:cNvSpPr>
            <a:spLocks noGrp="1"/>
          </p:cNvSpPr>
          <p:nvPr>
            <p:ph type="dt" sz="half" idx="10"/>
          </p:nvPr>
        </p:nvSpPr>
        <p:spPr/>
        <p:txBody>
          <a:bodyPr/>
          <a:lstStyle/>
          <a:p>
            <a:fld id="{4610F6F6-52F1-4BDD-928D-84928DA9612C}" type="datetimeFigureOut">
              <a:rPr lang="en-GB" smtClean="0"/>
              <a:t>07/07/2023</a:t>
            </a:fld>
            <a:endParaRPr lang="en-GB"/>
          </a:p>
        </p:txBody>
      </p:sp>
      <p:sp>
        <p:nvSpPr>
          <p:cNvPr id="6" name="Footer Placeholder 5">
            <a:extLst>
              <a:ext uri="{FF2B5EF4-FFF2-40B4-BE49-F238E27FC236}">
                <a16:creationId xmlns:a16="http://schemas.microsoft.com/office/drawing/2014/main" id="{FEDD99F4-1760-9E02-9C56-9601101FCA9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418F7F9-AD55-3E62-5DDB-EAEDB9900393}"/>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201551339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5EF64C-A79D-DCEF-C6D3-4EA6A1524A3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2819CF54-E5BD-1A44-568A-715513B6535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1071CDD5-7B7B-EE43-CEE3-372BEED4FDD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1CFF5-B353-4E19-5B39-48E6B13D1C77}"/>
              </a:ext>
            </a:extLst>
          </p:cNvPr>
          <p:cNvSpPr>
            <a:spLocks noGrp="1"/>
          </p:cNvSpPr>
          <p:nvPr>
            <p:ph type="dt" sz="half" idx="10"/>
          </p:nvPr>
        </p:nvSpPr>
        <p:spPr/>
        <p:txBody>
          <a:bodyPr/>
          <a:lstStyle/>
          <a:p>
            <a:fld id="{4610F6F6-52F1-4BDD-928D-84928DA9612C}" type="datetimeFigureOut">
              <a:rPr lang="en-GB" smtClean="0"/>
              <a:t>07/07/2023</a:t>
            </a:fld>
            <a:endParaRPr lang="en-GB"/>
          </a:p>
        </p:txBody>
      </p:sp>
      <p:sp>
        <p:nvSpPr>
          <p:cNvPr id="6" name="Footer Placeholder 5">
            <a:extLst>
              <a:ext uri="{FF2B5EF4-FFF2-40B4-BE49-F238E27FC236}">
                <a16:creationId xmlns:a16="http://schemas.microsoft.com/office/drawing/2014/main" id="{F0328EE1-E38D-BA4F-F82D-5CF3C14DC64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2E334AB-F545-44E6-98AF-9351108DFC40}"/>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195044809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05C36-C726-E489-6D38-31111EEC33E7}"/>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2C23EAF-5BC2-263E-5353-A90B383D2D4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A4544FE-DBC4-B631-BAAF-B73410A22041}"/>
              </a:ext>
            </a:extLst>
          </p:cNvPr>
          <p:cNvSpPr>
            <a:spLocks noGrp="1"/>
          </p:cNvSpPr>
          <p:nvPr>
            <p:ph type="dt" sz="half" idx="10"/>
          </p:nvPr>
        </p:nvSpPr>
        <p:spPr/>
        <p:txBody>
          <a:bodyPr/>
          <a:lstStyle/>
          <a:p>
            <a:fld id="{4610F6F6-52F1-4BDD-928D-84928DA9612C}" type="datetimeFigureOut">
              <a:rPr lang="en-GB" smtClean="0"/>
              <a:t>07/07/2023</a:t>
            </a:fld>
            <a:endParaRPr lang="en-GB"/>
          </a:p>
        </p:txBody>
      </p:sp>
      <p:sp>
        <p:nvSpPr>
          <p:cNvPr id="5" name="Footer Placeholder 4">
            <a:extLst>
              <a:ext uri="{FF2B5EF4-FFF2-40B4-BE49-F238E27FC236}">
                <a16:creationId xmlns:a16="http://schemas.microsoft.com/office/drawing/2014/main" id="{6747238E-CC12-E59D-4CF3-0D896579A0D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D048944-7057-CCAD-CE6D-0CC462EDA3CF}"/>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149960203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B5ED4CD-170F-29DB-A7F1-71367B43FC37}"/>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002798F7-BF46-CECF-FAD5-00BA0635087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7E7E535-3BF6-46B2-4919-A229939E9749}"/>
              </a:ext>
            </a:extLst>
          </p:cNvPr>
          <p:cNvSpPr>
            <a:spLocks noGrp="1"/>
          </p:cNvSpPr>
          <p:nvPr>
            <p:ph type="dt" sz="half" idx="10"/>
          </p:nvPr>
        </p:nvSpPr>
        <p:spPr/>
        <p:txBody>
          <a:bodyPr/>
          <a:lstStyle/>
          <a:p>
            <a:fld id="{4610F6F6-52F1-4BDD-928D-84928DA9612C}" type="datetimeFigureOut">
              <a:rPr lang="en-GB" smtClean="0"/>
              <a:t>07/07/2023</a:t>
            </a:fld>
            <a:endParaRPr lang="en-GB"/>
          </a:p>
        </p:txBody>
      </p:sp>
      <p:sp>
        <p:nvSpPr>
          <p:cNvPr id="5" name="Footer Placeholder 4">
            <a:extLst>
              <a:ext uri="{FF2B5EF4-FFF2-40B4-BE49-F238E27FC236}">
                <a16:creationId xmlns:a16="http://schemas.microsoft.com/office/drawing/2014/main" id="{852B2552-04F9-E402-914B-8CBC4639FF8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D54DA66-B39F-E200-6823-159A12E91AF7}"/>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4267605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7033D-3C30-D257-DD95-BB7567277C06}"/>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B1DF4299-5F2C-D2B1-6071-0D23A9708564}"/>
              </a:ext>
            </a:extLst>
          </p:cNvPr>
          <p:cNvSpPr>
            <a:spLocks noGrp="1"/>
          </p:cNvSpPr>
          <p:nvPr>
            <p:ph type="dt" sz="half" idx="10"/>
          </p:nvPr>
        </p:nvSpPr>
        <p:spPr/>
        <p:txBody>
          <a:bodyPr/>
          <a:lstStyle/>
          <a:p>
            <a:fld id="{E0E77212-FEB2-4966-BEAF-9AC2950C345D}" type="datetimeFigureOut">
              <a:rPr lang="en-GB" smtClean="0"/>
              <a:t>07/07/2023</a:t>
            </a:fld>
            <a:endParaRPr lang="en-GB"/>
          </a:p>
        </p:txBody>
      </p:sp>
      <p:sp>
        <p:nvSpPr>
          <p:cNvPr id="4" name="Footer Placeholder 3">
            <a:extLst>
              <a:ext uri="{FF2B5EF4-FFF2-40B4-BE49-F238E27FC236}">
                <a16:creationId xmlns:a16="http://schemas.microsoft.com/office/drawing/2014/main" id="{8EDA6B2A-7685-89D4-DEDC-73DCBE69470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DCD9FB21-37EF-8897-6600-A27590CB01EE}"/>
              </a:ext>
            </a:extLst>
          </p:cNvPr>
          <p:cNvSpPr>
            <a:spLocks noGrp="1"/>
          </p:cNvSpPr>
          <p:nvPr>
            <p:ph type="sldNum" sz="quarter" idx="12"/>
          </p:nvPr>
        </p:nvSpPr>
        <p:spPr/>
        <p:txBody>
          <a:bodyPr/>
          <a:lstStyle/>
          <a:p>
            <a:fld id="{83E3B9FD-B342-49D7-8DE4-155C16E449A0}" type="slidenum">
              <a:rPr lang="en-GB" smtClean="0"/>
              <a:t>‹#›</a:t>
            </a:fld>
            <a:endParaRPr lang="en-GB"/>
          </a:p>
        </p:txBody>
      </p:sp>
    </p:spTree>
    <p:extLst>
      <p:ext uri="{BB962C8B-B14F-4D97-AF65-F5344CB8AC3E}">
        <p14:creationId xmlns:p14="http://schemas.microsoft.com/office/powerpoint/2010/main" val="32443664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EE0F92C-4CA8-A00F-4C24-2FF88F4BF644}"/>
              </a:ext>
            </a:extLst>
          </p:cNvPr>
          <p:cNvSpPr>
            <a:spLocks noGrp="1"/>
          </p:cNvSpPr>
          <p:nvPr>
            <p:ph type="dt" sz="half" idx="10"/>
          </p:nvPr>
        </p:nvSpPr>
        <p:spPr/>
        <p:txBody>
          <a:bodyPr/>
          <a:lstStyle/>
          <a:p>
            <a:fld id="{E0E77212-FEB2-4966-BEAF-9AC2950C345D}" type="datetimeFigureOut">
              <a:rPr lang="en-GB" smtClean="0"/>
              <a:t>07/07/2023</a:t>
            </a:fld>
            <a:endParaRPr lang="en-GB"/>
          </a:p>
        </p:txBody>
      </p:sp>
      <p:sp>
        <p:nvSpPr>
          <p:cNvPr id="3" name="Footer Placeholder 2">
            <a:extLst>
              <a:ext uri="{FF2B5EF4-FFF2-40B4-BE49-F238E27FC236}">
                <a16:creationId xmlns:a16="http://schemas.microsoft.com/office/drawing/2014/main" id="{D54CC445-2105-58C3-99AD-9EF91BFBD611}"/>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7A9DAA97-8F07-8C48-7F08-E79C1F0D3C9D}"/>
              </a:ext>
            </a:extLst>
          </p:cNvPr>
          <p:cNvSpPr>
            <a:spLocks noGrp="1"/>
          </p:cNvSpPr>
          <p:nvPr>
            <p:ph type="sldNum" sz="quarter" idx="12"/>
          </p:nvPr>
        </p:nvSpPr>
        <p:spPr/>
        <p:txBody>
          <a:bodyPr/>
          <a:lstStyle/>
          <a:p>
            <a:fld id="{83E3B9FD-B342-49D7-8DE4-155C16E449A0}" type="slidenum">
              <a:rPr lang="en-GB" smtClean="0"/>
              <a:t>‹#›</a:t>
            </a:fld>
            <a:endParaRPr lang="en-GB"/>
          </a:p>
        </p:txBody>
      </p:sp>
    </p:spTree>
    <p:extLst>
      <p:ext uri="{BB962C8B-B14F-4D97-AF65-F5344CB8AC3E}">
        <p14:creationId xmlns:p14="http://schemas.microsoft.com/office/powerpoint/2010/main" val="17708391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DA658E-D396-06C3-8E9F-45848D8427F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4FBE7016-A5F2-3694-8D48-075D05763BF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E0F4A2E0-8FE3-F32F-3AC1-EB115085D7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EC7ACDE-BF59-DE47-D6CD-6FC85F43B552}"/>
              </a:ext>
            </a:extLst>
          </p:cNvPr>
          <p:cNvSpPr>
            <a:spLocks noGrp="1"/>
          </p:cNvSpPr>
          <p:nvPr>
            <p:ph type="dt" sz="half" idx="10"/>
          </p:nvPr>
        </p:nvSpPr>
        <p:spPr/>
        <p:txBody>
          <a:bodyPr/>
          <a:lstStyle/>
          <a:p>
            <a:fld id="{E0E77212-FEB2-4966-BEAF-9AC2950C345D}" type="datetimeFigureOut">
              <a:rPr lang="en-GB" smtClean="0"/>
              <a:t>07/07/2023</a:t>
            </a:fld>
            <a:endParaRPr lang="en-GB"/>
          </a:p>
        </p:txBody>
      </p:sp>
      <p:sp>
        <p:nvSpPr>
          <p:cNvPr id="6" name="Footer Placeholder 5">
            <a:extLst>
              <a:ext uri="{FF2B5EF4-FFF2-40B4-BE49-F238E27FC236}">
                <a16:creationId xmlns:a16="http://schemas.microsoft.com/office/drawing/2014/main" id="{A6F71C77-AD6E-8D98-4517-9AE6BEB5232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8E91622-9071-B9A7-10DD-6D3EAB121DB4}"/>
              </a:ext>
            </a:extLst>
          </p:cNvPr>
          <p:cNvSpPr>
            <a:spLocks noGrp="1"/>
          </p:cNvSpPr>
          <p:nvPr>
            <p:ph type="sldNum" sz="quarter" idx="12"/>
          </p:nvPr>
        </p:nvSpPr>
        <p:spPr/>
        <p:txBody>
          <a:bodyPr/>
          <a:lstStyle/>
          <a:p>
            <a:fld id="{83E3B9FD-B342-49D7-8DE4-155C16E449A0}" type="slidenum">
              <a:rPr lang="en-GB" smtClean="0"/>
              <a:t>‹#›</a:t>
            </a:fld>
            <a:endParaRPr lang="en-GB"/>
          </a:p>
        </p:txBody>
      </p:sp>
    </p:spTree>
    <p:extLst>
      <p:ext uri="{BB962C8B-B14F-4D97-AF65-F5344CB8AC3E}">
        <p14:creationId xmlns:p14="http://schemas.microsoft.com/office/powerpoint/2010/main" val="578829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EDD83-D6E6-68CD-17EB-E8F6C19C7BB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5354ABB9-BF22-D4EC-29AA-8CB401F0C9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57804D5A-7813-E54F-219D-FD3DC0316B3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135A2DE-502F-7063-6FAF-16CD1ED24507}"/>
              </a:ext>
            </a:extLst>
          </p:cNvPr>
          <p:cNvSpPr>
            <a:spLocks noGrp="1"/>
          </p:cNvSpPr>
          <p:nvPr>
            <p:ph type="dt" sz="half" idx="10"/>
          </p:nvPr>
        </p:nvSpPr>
        <p:spPr/>
        <p:txBody>
          <a:bodyPr/>
          <a:lstStyle/>
          <a:p>
            <a:fld id="{E0E77212-FEB2-4966-BEAF-9AC2950C345D}" type="datetimeFigureOut">
              <a:rPr lang="en-GB" smtClean="0"/>
              <a:t>07/07/2023</a:t>
            </a:fld>
            <a:endParaRPr lang="en-GB"/>
          </a:p>
        </p:txBody>
      </p:sp>
      <p:sp>
        <p:nvSpPr>
          <p:cNvPr id="6" name="Footer Placeholder 5">
            <a:extLst>
              <a:ext uri="{FF2B5EF4-FFF2-40B4-BE49-F238E27FC236}">
                <a16:creationId xmlns:a16="http://schemas.microsoft.com/office/drawing/2014/main" id="{CFD41AEC-7F5F-6B08-0385-D454B42E10F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E6F9DF1-E22B-DD85-FD78-37F4A6AE58F9}"/>
              </a:ext>
            </a:extLst>
          </p:cNvPr>
          <p:cNvSpPr>
            <a:spLocks noGrp="1"/>
          </p:cNvSpPr>
          <p:nvPr>
            <p:ph type="sldNum" sz="quarter" idx="12"/>
          </p:nvPr>
        </p:nvSpPr>
        <p:spPr/>
        <p:txBody>
          <a:bodyPr/>
          <a:lstStyle/>
          <a:p>
            <a:fld id="{83E3B9FD-B342-49D7-8DE4-155C16E449A0}" type="slidenum">
              <a:rPr lang="en-GB" smtClean="0"/>
              <a:t>‹#›</a:t>
            </a:fld>
            <a:endParaRPr lang="en-GB"/>
          </a:p>
        </p:txBody>
      </p:sp>
    </p:spTree>
    <p:extLst>
      <p:ext uri="{BB962C8B-B14F-4D97-AF65-F5344CB8AC3E}">
        <p14:creationId xmlns:p14="http://schemas.microsoft.com/office/powerpoint/2010/main" val="23491232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heme" Target="../theme/theme3.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theme" Target="../theme/theme4.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theme" Target="../theme/theme5.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8E53C6D-456B-7B16-EF97-BB4E0CD38B1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F658192-86BA-19E3-98CA-242B519331F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80599A9-767F-2446-5C65-7BF403485AF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0E77212-FEB2-4966-BEAF-9AC2950C345D}" type="datetimeFigureOut">
              <a:rPr lang="en-GB" smtClean="0"/>
              <a:t>07/07/2023</a:t>
            </a:fld>
            <a:endParaRPr lang="en-GB"/>
          </a:p>
        </p:txBody>
      </p:sp>
      <p:sp>
        <p:nvSpPr>
          <p:cNvPr id="5" name="Footer Placeholder 4">
            <a:extLst>
              <a:ext uri="{FF2B5EF4-FFF2-40B4-BE49-F238E27FC236}">
                <a16:creationId xmlns:a16="http://schemas.microsoft.com/office/drawing/2014/main" id="{DA7A0860-7747-87A6-92E0-0255C79FCE4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0092EA5-25E6-9C82-148A-AF5749390CC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3E3B9FD-B342-49D7-8DE4-155C16E449A0}" type="slidenum">
              <a:rPr lang="en-GB" smtClean="0"/>
              <a:t>‹#›</a:t>
            </a:fld>
            <a:endParaRPr lang="en-GB"/>
          </a:p>
        </p:txBody>
      </p:sp>
    </p:spTree>
    <p:extLst>
      <p:ext uri="{BB962C8B-B14F-4D97-AF65-F5344CB8AC3E}">
        <p14:creationId xmlns:p14="http://schemas.microsoft.com/office/powerpoint/2010/main" val="138398673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C72693F-644E-4F37-AE35-ABBDB5B784F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1D19AF26-FD28-4150-8A76-CC3EBE779DD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6664BBD-B103-4D75-A635-44F9728BB32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2B191CE-F718-4C8B-826F-7503487B79B5}" type="datetimeFigureOut">
              <a:rPr lang="en-GB" smtClean="0"/>
              <a:t>07/07/2023</a:t>
            </a:fld>
            <a:endParaRPr lang="en-GB"/>
          </a:p>
        </p:txBody>
      </p:sp>
      <p:sp>
        <p:nvSpPr>
          <p:cNvPr id="5" name="Footer Placeholder 4">
            <a:extLst>
              <a:ext uri="{FF2B5EF4-FFF2-40B4-BE49-F238E27FC236}">
                <a16:creationId xmlns:a16="http://schemas.microsoft.com/office/drawing/2014/main" id="{664750B0-1598-4589-81B8-3E079A7808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F71F23CC-513C-4339-871A-BD54473F55A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88750C2-3E67-4349-BB2B-733FE64E9501}" type="slidenum">
              <a:rPr lang="en-GB" smtClean="0"/>
              <a:t>‹#›</a:t>
            </a:fld>
            <a:endParaRPr lang="en-GB"/>
          </a:p>
        </p:txBody>
      </p:sp>
    </p:spTree>
    <p:extLst>
      <p:ext uri="{BB962C8B-B14F-4D97-AF65-F5344CB8AC3E}">
        <p14:creationId xmlns:p14="http://schemas.microsoft.com/office/powerpoint/2010/main" val="309833411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AA30958-48AC-4E45-3897-CBACC6CF16C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5EBA767C-348B-846F-9574-736C21774EF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2CCCEA6-90D3-B2EF-1DB1-801DB85AB52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41DBE789-A1A8-28E9-B11E-ABE4874EEB9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48ABE107-729C-23EA-5426-41C3D7EC6AC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F72325A-DC7E-4C04-B741-F2133948C1C0}" type="slidenum">
              <a:rPr lang="en-GB" smtClean="0"/>
              <a:t>‹#›</a:t>
            </a:fld>
            <a:endParaRPr lang="en-GB"/>
          </a:p>
        </p:txBody>
      </p:sp>
    </p:spTree>
    <p:extLst>
      <p:ext uri="{BB962C8B-B14F-4D97-AF65-F5344CB8AC3E}">
        <p14:creationId xmlns:p14="http://schemas.microsoft.com/office/powerpoint/2010/main" val="387316424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718" r:id="rId1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ABBD152-7BBF-4AF7-B492-B11F102BCBB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684B255-9DF1-4E88-AC0A-A7F9A485612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BAEAACC-985D-425A-9E6B-09A97D489FA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0F7EC3E-B6B0-49E2-B928-9EA43318526D}" type="datetime1">
              <a:rPr lang="en-GB" smtClean="0"/>
              <a:t>07/07/2023</a:t>
            </a:fld>
            <a:endParaRPr lang="en-GB"/>
          </a:p>
        </p:txBody>
      </p:sp>
      <p:sp>
        <p:nvSpPr>
          <p:cNvPr id="5" name="Footer Placeholder 4">
            <a:extLst>
              <a:ext uri="{FF2B5EF4-FFF2-40B4-BE49-F238E27FC236}">
                <a16:creationId xmlns:a16="http://schemas.microsoft.com/office/drawing/2014/main" id="{CA834C0B-3AD9-4ACF-A18D-3D1281B462E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Pricing Strategies 70.7015</a:t>
            </a:r>
          </a:p>
        </p:txBody>
      </p:sp>
      <p:sp>
        <p:nvSpPr>
          <p:cNvPr id="6" name="Slide Number Placeholder 5">
            <a:extLst>
              <a:ext uri="{FF2B5EF4-FFF2-40B4-BE49-F238E27FC236}">
                <a16:creationId xmlns:a16="http://schemas.microsoft.com/office/drawing/2014/main" id="{3E967DE5-5A40-43F1-9A1B-E3AB4C9B150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B8828D9-3E6A-477F-A491-AADAE3613DD2}" type="slidenum">
              <a:rPr lang="en-GB" smtClean="0"/>
              <a:t>‹#›</a:t>
            </a:fld>
            <a:endParaRPr lang="en-GB"/>
          </a:p>
        </p:txBody>
      </p:sp>
    </p:spTree>
    <p:extLst>
      <p:ext uri="{BB962C8B-B14F-4D97-AF65-F5344CB8AC3E}">
        <p14:creationId xmlns:p14="http://schemas.microsoft.com/office/powerpoint/2010/main" val="3000569786"/>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32203D0-EBBA-1B6A-ECA8-D38216349EC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1092C50-DDB8-45DF-DD33-1FFECC0E63C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F873341-B16E-234D-D1CD-A6F1BC701D0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610F6F6-52F1-4BDD-928D-84928DA9612C}" type="datetimeFigureOut">
              <a:rPr lang="en-GB" smtClean="0"/>
              <a:t>07/07/2023</a:t>
            </a:fld>
            <a:endParaRPr lang="en-GB"/>
          </a:p>
        </p:txBody>
      </p:sp>
      <p:sp>
        <p:nvSpPr>
          <p:cNvPr id="5" name="Footer Placeholder 4">
            <a:extLst>
              <a:ext uri="{FF2B5EF4-FFF2-40B4-BE49-F238E27FC236}">
                <a16:creationId xmlns:a16="http://schemas.microsoft.com/office/drawing/2014/main" id="{85E3E506-9346-03B2-BF2A-27BDEF44D54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B15BF6CA-8846-54D7-282F-88A869D8F1C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7F2132C-8832-4EB1-97FC-35BD516CA2C9}" type="slidenum">
              <a:rPr lang="en-GB" smtClean="0"/>
              <a:t>‹#›</a:t>
            </a:fld>
            <a:endParaRPr lang="en-GB"/>
          </a:p>
        </p:txBody>
      </p:sp>
    </p:spTree>
    <p:extLst>
      <p:ext uri="{BB962C8B-B14F-4D97-AF65-F5344CB8AC3E}">
        <p14:creationId xmlns:p14="http://schemas.microsoft.com/office/powerpoint/2010/main" val="3417478800"/>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png"/><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png"/><Relationship Id="rId1" Type="http://schemas.openxmlformats.org/officeDocument/2006/relationships/slideLayout" Target="../slideLayouts/slideLayout18.xml"/><Relationship Id="rId5" Type="http://schemas.openxmlformats.org/officeDocument/2006/relationships/image" Target="../media/image26.svg"/><Relationship Id="rId4" Type="http://schemas.openxmlformats.org/officeDocument/2006/relationships/image" Target="../media/image25.png"/></Relationships>
</file>

<file path=ppt/slides/_rels/slide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7.emf"/><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8.emf"/><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9.emf"/><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Layout" Target="../slideLayouts/slideLayout48.xml"/><Relationship Id="rId6" Type="http://schemas.openxmlformats.org/officeDocument/2006/relationships/image" Target="../media/image2.png"/><Relationship Id="rId5" Type="http://schemas.openxmlformats.org/officeDocument/2006/relationships/image" Target="../media/image6.jpeg"/><Relationship Id="rId4" Type="http://schemas.openxmlformats.org/officeDocument/2006/relationships/image" Target="../media/image5.jpeg"/></Relationships>
</file>

<file path=ppt/slides/_rels/slide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hyperlink" Target="file:///\\tools" TargetMode="External"/><Relationship Id="rId1" Type="http://schemas.openxmlformats.org/officeDocument/2006/relationships/slideLayout" Target="../slideLayouts/slideLayout6.xml"/><Relationship Id="rId6" Type="http://schemas.openxmlformats.org/officeDocument/2006/relationships/image" Target="../media/image10.png"/><Relationship Id="rId5" Type="http://schemas.openxmlformats.org/officeDocument/2006/relationships/image" Target="../media/image9.png"/><Relationship Id="rId10" Type="http://schemas.openxmlformats.org/officeDocument/2006/relationships/image" Target="../media/image2.png"/><Relationship Id="rId4" Type="http://schemas.openxmlformats.org/officeDocument/2006/relationships/image" Target="../media/image8.png"/><Relationship Id="rId9" Type="http://schemas.openxmlformats.org/officeDocument/2006/relationships/image" Target="../media/image12.png"/></Relationships>
</file>

<file path=ppt/slides/_rels/slide30.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tags" Target="../tags/tag3.xml"/><Relationship Id="rId7" Type="http://schemas.openxmlformats.org/officeDocument/2006/relationships/diagramQuickStyle" Target="../diagrams/quickStyle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diagramLayout" Target="../diagrams/layout1.xml"/><Relationship Id="rId11" Type="http://schemas.openxmlformats.org/officeDocument/2006/relationships/image" Target="../media/image30.emf"/><Relationship Id="rId5" Type="http://schemas.openxmlformats.org/officeDocument/2006/relationships/diagramData" Target="../diagrams/data1.xml"/><Relationship Id="rId10" Type="http://schemas.openxmlformats.org/officeDocument/2006/relationships/image" Target="../media/image2.png"/><Relationship Id="rId4" Type="http://schemas.openxmlformats.org/officeDocument/2006/relationships/slideLayout" Target="../slideLayouts/slideLayout7.xml"/><Relationship Id="rId9" Type="http://schemas.microsoft.com/office/2007/relationships/diagramDrawing" Target="../diagrams/drawing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xml"/></Relationships>
</file>

<file path=ppt/slides/_rels/slide37.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image" Target="../media/image38.jpeg"/><Relationship Id="rId7" Type="http://schemas.openxmlformats.org/officeDocument/2006/relationships/image" Target="../media/image41.png"/><Relationship Id="rId2" Type="http://schemas.openxmlformats.org/officeDocument/2006/relationships/image" Target="../media/image37.jpeg"/><Relationship Id="rId1" Type="http://schemas.openxmlformats.org/officeDocument/2006/relationships/slideLayout" Target="../slideLayouts/slideLayout18.xml"/><Relationship Id="rId6" Type="http://schemas.microsoft.com/office/2007/relationships/hdphoto" Target="../media/hdphoto6.wdp"/><Relationship Id="rId5" Type="http://schemas.openxmlformats.org/officeDocument/2006/relationships/image" Target="../media/image40.png"/><Relationship Id="rId10" Type="http://schemas.microsoft.com/office/2007/relationships/hdphoto" Target="../media/hdphoto8.wdp"/><Relationship Id="rId4" Type="http://schemas.openxmlformats.org/officeDocument/2006/relationships/image" Target="../media/image39.jpeg"/><Relationship Id="rId9" Type="http://schemas.openxmlformats.org/officeDocument/2006/relationships/image" Target="../media/image42.png"/></Relationships>
</file>

<file path=ppt/slides/_rels/slide39.x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image" Target="../media/image44.png"/><Relationship Id="rId1" Type="http://schemas.openxmlformats.org/officeDocument/2006/relationships/slideLayout" Target="../slideLayouts/slideLayout18.xml"/><Relationship Id="rId4" Type="http://schemas.openxmlformats.org/officeDocument/2006/relationships/image" Target="../media/image38.png"/></Relationships>
</file>

<file path=ppt/slides/_rels/slide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5.emf"/><Relationship Id="rId1" Type="http://schemas.openxmlformats.org/officeDocument/2006/relationships/slideLayout" Target="../slideLayouts/slideLayout1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Layout" Target="../slideLayouts/slideLayout34.xml"/><Relationship Id="rId6" Type="http://schemas.openxmlformats.org/officeDocument/2006/relationships/image" Target="../media/image2.png"/><Relationship Id="rId5" Type="http://schemas.openxmlformats.org/officeDocument/2006/relationships/image" Target="../media/image6.jpeg"/><Relationship Id="rId4" Type="http://schemas.openxmlformats.org/officeDocument/2006/relationships/image" Target="../media/image5.jpeg"/></Relationships>
</file>

<file path=ppt/slides/_rels/slide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8" Type="http://schemas.openxmlformats.org/officeDocument/2006/relationships/image" Target="../media/image18.jpg"/><Relationship Id="rId3" Type="http://schemas.microsoft.com/office/2007/relationships/hdphoto" Target="../media/hdphoto2.wdp"/><Relationship Id="rId7" Type="http://schemas.openxmlformats.org/officeDocument/2006/relationships/image" Target="../media/image17.png"/><Relationship Id="rId12"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Layout" Target="../slideLayouts/slideLayout55.xml"/><Relationship Id="rId6" Type="http://schemas.openxmlformats.org/officeDocument/2006/relationships/image" Target="../media/image16.png"/><Relationship Id="rId11" Type="http://schemas.openxmlformats.org/officeDocument/2006/relationships/image" Target="../media/image20.png"/><Relationship Id="rId5" Type="http://schemas.openxmlformats.org/officeDocument/2006/relationships/image" Target="../media/image15.jpeg"/><Relationship Id="rId10" Type="http://schemas.microsoft.com/office/2007/relationships/hdphoto" Target="../media/hdphoto3.wdp"/><Relationship Id="rId4" Type="http://schemas.openxmlformats.org/officeDocument/2006/relationships/image" Target="../media/image14.png"/><Relationship Id="rId9" Type="http://schemas.openxmlformats.org/officeDocument/2006/relationships/image" Target="../media/image19.png"/></Relationships>
</file>

<file path=ppt/slides/_rels/slide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png"/><Relationship Id="rId1" Type="http://schemas.openxmlformats.org/officeDocument/2006/relationships/slideLayout" Target="../slideLayouts/slideLayout18.xml"/><Relationship Id="rId4" Type="http://schemas.microsoft.com/office/2007/relationships/hdphoto" Target="../media/hdphoto4.wdp"/></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png"/><Relationship Id="rId1" Type="http://schemas.openxmlformats.org/officeDocument/2006/relationships/slideLayout" Target="../slideLayouts/slideLayout18.xml"/><Relationship Id="rId4" Type="http://schemas.microsoft.com/office/2007/relationships/hdphoto" Target="../media/hdphoto5.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9D82CE9-F93B-3196-EA9F-725DAAE988AB}"/>
              </a:ext>
            </a:extLst>
          </p:cNvPr>
          <p:cNvPicPr>
            <a:picLocks noChangeAspect="1"/>
          </p:cNvPicPr>
          <p:nvPr/>
        </p:nvPicPr>
        <p:blipFill>
          <a:blip r:embed="rId2"/>
          <a:stretch>
            <a:fillRect/>
          </a:stretch>
        </p:blipFill>
        <p:spPr>
          <a:xfrm>
            <a:off x="5800243" y="2241412"/>
            <a:ext cx="6157494" cy="2078916"/>
          </a:xfrm>
          <a:prstGeom prst="rect">
            <a:avLst/>
          </a:prstGeom>
        </p:spPr>
      </p:pic>
      <p:sp>
        <p:nvSpPr>
          <p:cNvPr id="7" name="Rectangle 6">
            <a:extLst>
              <a:ext uri="{FF2B5EF4-FFF2-40B4-BE49-F238E27FC236}">
                <a16:creationId xmlns:a16="http://schemas.microsoft.com/office/drawing/2014/main" id="{693BF65E-9573-1BDA-9CE4-E021C94FC7F8}"/>
              </a:ext>
            </a:extLst>
          </p:cNvPr>
          <p:cNvSpPr/>
          <p:nvPr/>
        </p:nvSpPr>
        <p:spPr>
          <a:xfrm>
            <a:off x="6833226" y="2499961"/>
            <a:ext cx="4229663" cy="43693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Light"/>
              <a:ea typeface="+mn-ea"/>
              <a:cs typeface="+mn-cs"/>
            </a:endParaRPr>
          </a:p>
        </p:txBody>
      </p:sp>
      <p:sp>
        <p:nvSpPr>
          <p:cNvPr id="4" name="Rectangle 3">
            <a:extLst>
              <a:ext uri="{FF2B5EF4-FFF2-40B4-BE49-F238E27FC236}">
                <a16:creationId xmlns:a16="http://schemas.microsoft.com/office/drawing/2014/main" id="{506242F6-CA1E-42FB-BB1A-B13E71A7D987}"/>
              </a:ext>
            </a:extLst>
          </p:cNvPr>
          <p:cNvSpPr/>
          <p:nvPr/>
        </p:nvSpPr>
        <p:spPr>
          <a:xfrm>
            <a:off x="-2286" y="-13209"/>
            <a:ext cx="5760000" cy="6871209"/>
          </a:xfrm>
          <a:prstGeom prst="rect">
            <a:avLst/>
          </a:prstGeom>
          <a:solidFill>
            <a:srgbClr val="3984A3"/>
          </a:solidFill>
          <a:ln w="12700" cap="flat" cmpd="sng" algn="ctr">
            <a:noFill/>
            <a:prstDash val="solid"/>
            <a:miter lim="800000"/>
          </a:ln>
          <a:effectLst/>
        </p:spPr>
        <p:txBody>
          <a:bodyPr wrap="square"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GB" sz="1000" b="1" i="0" u="none" strike="noStrike" kern="0" cap="none" spc="0" normalizeH="0" baseline="0" noProof="0" dirty="0">
              <a:ln>
                <a:noFill/>
              </a:ln>
              <a:solidFill>
                <a:srgbClr val="FFFFFF"/>
              </a:solidFill>
              <a:effectLst/>
              <a:uLnTx/>
              <a:uFillTx/>
              <a:latin typeface="Lato Light" panose="020F0502020204030203"/>
              <a:ea typeface="+mn-ea"/>
              <a:cs typeface="+mn-cs"/>
            </a:endParaRPr>
          </a:p>
        </p:txBody>
      </p:sp>
      <p:sp>
        <p:nvSpPr>
          <p:cNvPr id="13" name="TextBox 12">
            <a:extLst>
              <a:ext uri="{FF2B5EF4-FFF2-40B4-BE49-F238E27FC236}">
                <a16:creationId xmlns:a16="http://schemas.microsoft.com/office/drawing/2014/main" id="{E4F23697-1BEC-4F6B-A1E1-CF2064D07358}"/>
              </a:ext>
            </a:extLst>
          </p:cNvPr>
          <p:cNvSpPr txBox="1"/>
          <p:nvPr/>
        </p:nvSpPr>
        <p:spPr>
          <a:xfrm>
            <a:off x="9268286" y="6267597"/>
            <a:ext cx="2923714" cy="4770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D96800"/>
                </a:solidFill>
                <a:effectLst/>
                <a:uLnTx/>
                <a:uFillTx/>
                <a:latin typeface="Lato Light" panose="020F0502020204030203"/>
                <a:ea typeface="+mn-ea"/>
                <a:cs typeface="+mn-cs"/>
              </a:rPr>
              <a:t>Tools, Content &amp; Templat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lumMod val="50000"/>
                  </a:prstClr>
                </a:solidFill>
                <a:effectLst/>
                <a:uLnTx/>
                <a:uFillTx/>
                <a:latin typeface="Lato Light" panose="020F0502020204030203"/>
                <a:ea typeface="+mn-ea"/>
                <a:cs typeface="+mn-cs"/>
              </a:rPr>
              <a:t>Hand built using experience &amp; insight </a:t>
            </a:r>
          </a:p>
        </p:txBody>
      </p:sp>
      <p:pic>
        <p:nvPicPr>
          <p:cNvPr id="14" name="Picture 13" descr="Logo&#10;&#10;Description automatically generated">
            <a:extLst>
              <a:ext uri="{FF2B5EF4-FFF2-40B4-BE49-F238E27FC236}">
                <a16:creationId xmlns:a16="http://schemas.microsoft.com/office/drawing/2014/main" id="{F4A6D227-4561-4949-BB83-BE740B69EA2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09024" y="199287"/>
            <a:ext cx="1601128" cy="372663"/>
          </a:xfrm>
          <a:prstGeom prst="rect">
            <a:avLst/>
          </a:prstGeom>
        </p:spPr>
      </p:pic>
      <p:sp>
        <p:nvSpPr>
          <p:cNvPr id="15" name="TextBox 14">
            <a:extLst>
              <a:ext uri="{FF2B5EF4-FFF2-40B4-BE49-F238E27FC236}">
                <a16:creationId xmlns:a16="http://schemas.microsoft.com/office/drawing/2014/main" id="{50709A3E-8602-46AD-B797-5EAFDCDBDC85}"/>
              </a:ext>
            </a:extLst>
          </p:cNvPr>
          <p:cNvSpPr txBox="1"/>
          <p:nvPr/>
        </p:nvSpPr>
        <p:spPr>
          <a:xfrm>
            <a:off x="1" y="2900574"/>
            <a:ext cx="5746282" cy="523220"/>
          </a:xfrm>
          <a:prstGeom prst="rect">
            <a:avLst/>
          </a:prstGeom>
          <a:noFill/>
        </p:spPr>
        <p:txBody>
          <a:bodyPr wrap="square" rtlCol="0">
            <a:spAutoFit/>
          </a:bodyPr>
          <a:lstStyle/>
          <a:p>
            <a:pPr marL="0" marR="0" lvl="0" indent="0" algn="ctr"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prstClr val="white">
                    <a:lumMod val="95000"/>
                  </a:prstClr>
                </a:solidFill>
                <a:effectLst/>
                <a:uLnTx/>
                <a:uFillTx/>
                <a:latin typeface="Poppins" panose="00000500000000000000" pitchFamily="2" charset="0"/>
                <a:ea typeface="MS Gothic" panose="020B0609070205080204" pitchFamily="49" charset="-128"/>
                <a:cs typeface="Poppins" panose="00000500000000000000" pitchFamily="2" charset="0"/>
              </a:rPr>
              <a:t>Trade Marketing Plans </a:t>
            </a:r>
          </a:p>
        </p:txBody>
      </p:sp>
      <p:sp>
        <p:nvSpPr>
          <p:cNvPr id="17" name="TextBox 16">
            <a:extLst>
              <a:ext uri="{FF2B5EF4-FFF2-40B4-BE49-F238E27FC236}">
                <a16:creationId xmlns:a16="http://schemas.microsoft.com/office/drawing/2014/main" id="{5E97F481-60A8-4455-BC7E-3C6E20C88789}"/>
              </a:ext>
            </a:extLst>
          </p:cNvPr>
          <p:cNvSpPr txBox="1"/>
          <p:nvPr/>
        </p:nvSpPr>
        <p:spPr>
          <a:xfrm>
            <a:off x="143391" y="5440664"/>
            <a:ext cx="5468645" cy="369332"/>
          </a:xfrm>
          <a:prstGeom prst="rect">
            <a:avLst/>
          </a:prstGeom>
          <a:noFill/>
        </p:spPr>
        <p:txBody>
          <a:bodyPr wrap="square" lIns="360000" rIns="360000">
            <a:spAutoFit/>
          </a:bodyPr>
          <a:lstStyle>
            <a:defPPr>
              <a:defRPr lang="en-US"/>
            </a:defPPr>
            <a:lvl1pPr>
              <a:defRPr b="0" i="0">
                <a:solidFill>
                  <a:srgbClr val="909399"/>
                </a:solidFill>
                <a:effectLst/>
                <a:latin typeface="Helvetica Neu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Lato Light" panose="020F0502020204030203"/>
                <a:ea typeface="+mn-ea"/>
                <a:cs typeface="+mn-cs"/>
              </a:rPr>
              <a:t>Sales &amp; Marketing Fundamentals. </a:t>
            </a:r>
          </a:p>
        </p:txBody>
      </p:sp>
      <p:sp>
        <p:nvSpPr>
          <p:cNvPr id="11" name="Rectangle 10">
            <a:extLst>
              <a:ext uri="{FF2B5EF4-FFF2-40B4-BE49-F238E27FC236}">
                <a16:creationId xmlns:a16="http://schemas.microsoft.com/office/drawing/2014/main" id="{A8F0AC1C-972A-F2F9-95B2-6197829C058C}"/>
              </a:ext>
            </a:extLst>
          </p:cNvPr>
          <p:cNvSpPr/>
          <p:nvPr/>
        </p:nvSpPr>
        <p:spPr>
          <a:xfrm>
            <a:off x="0" y="5937662"/>
            <a:ext cx="5760000" cy="9203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Lato Light"/>
              <a:ea typeface="+mn-ea"/>
              <a:cs typeface="+mn-cs"/>
            </a:endParaRPr>
          </a:p>
        </p:txBody>
      </p:sp>
      <p:sp>
        <p:nvSpPr>
          <p:cNvPr id="21" name="TextBox 20">
            <a:extLst>
              <a:ext uri="{FF2B5EF4-FFF2-40B4-BE49-F238E27FC236}">
                <a16:creationId xmlns:a16="http://schemas.microsoft.com/office/drawing/2014/main" id="{C2B943F9-3DF2-7055-7DC5-9F94603624AD}"/>
              </a:ext>
            </a:extLst>
          </p:cNvPr>
          <p:cNvSpPr txBox="1"/>
          <p:nvPr/>
        </p:nvSpPr>
        <p:spPr>
          <a:xfrm>
            <a:off x="-171198" y="6037266"/>
            <a:ext cx="2701337" cy="584775"/>
          </a:xfrm>
          <a:prstGeom prst="rect">
            <a:avLst/>
          </a:prstGeom>
          <a:noFill/>
        </p:spPr>
        <p:txBody>
          <a:bodyPr wrap="square" lIns="360000" rIns="360000">
            <a:spAutoFit/>
          </a:bodyPr>
          <a:lstStyle>
            <a:defPPr>
              <a:defRPr lang="en-US"/>
            </a:defPPr>
            <a:lvl1pPr>
              <a:defRPr b="0" i="0">
                <a:solidFill>
                  <a:srgbClr val="909399"/>
                </a:solidFill>
                <a:effectLst/>
                <a:latin typeface="Helvetica Neu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Lato Light" panose="020F0502020204030203"/>
                <a:ea typeface="+mn-ea"/>
                <a:cs typeface="+mn-cs"/>
              </a:rPr>
              <a:t>UpskilPRO e Institute for Sales &amp; Marketing </a:t>
            </a:r>
          </a:p>
        </p:txBody>
      </p:sp>
      <p:grpSp>
        <p:nvGrpSpPr>
          <p:cNvPr id="2" name="Group 1">
            <a:extLst>
              <a:ext uri="{FF2B5EF4-FFF2-40B4-BE49-F238E27FC236}">
                <a16:creationId xmlns:a16="http://schemas.microsoft.com/office/drawing/2014/main" id="{565B190F-2259-40D0-F0A3-463AF60102AE}"/>
              </a:ext>
            </a:extLst>
          </p:cNvPr>
          <p:cNvGrpSpPr/>
          <p:nvPr/>
        </p:nvGrpSpPr>
        <p:grpSpPr>
          <a:xfrm>
            <a:off x="5198734" y="4462162"/>
            <a:ext cx="1055370" cy="1055370"/>
            <a:chOff x="7108613" y="4124330"/>
            <a:chExt cx="1055370" cy="1055370"/>
          </a:xfrm>
        </p:grpSpPr>
        <p:sp>
          <p:nvSpPr>
            <p:cNvPr id="3" name="Oval 2">
              <a:extLst>
                <a:ext uri="{FF2B5EF4-FFF2-40B4-BE49-F238E27FC236}">
                  <a16:creationId xmlns:a16="http://schemas.microsoft.com/office/drawing/2014/main" id="{B13CF234-3E26-BC0F-BA5E-5C9B9D6BA978}"/>
                </a:ext>
              </a:extLst>
            </p:cNvPr>
            <p:cNvSpPr/>
            <p:nvPr/>
          </p:nvSpPr>
          <p:spPr>
            <a:xfrm>
              <a:off x="7108613" y="4124330"/>
              <a:ext cx="1055370" cy="1055370"/>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ato Light"/>
                <a:ea typeface="+mn-ea"/>
                <a:cs typeface="+mn-cs"/>
              </a:endParaRPr>
            </a:p>
          </p:txBody>
        </p:sp>
        <p:sp>
          <p:nvSpPr>
            <p:cNvPr id="5" name="Google Shape;104;p13">
              <a:extLst>
                <a:ext uri="{FF2B5EF4-FFF2-40B4-BE49-F238E27FC236}">
                  <a16:creationId xmlns:a16="http://schemas.microsoft.com/office/drawing/2014/main" id="{FA2B2BC9-5BBF-801E-39A4-2BDB472C35DB}"/>
                </a:ext>
              </a:extLst>
            </p:cNvPr>
            <p:cNvSpPr/>
            <p:nvPr/>
          </p:nvSpPr>
          <p:spPr>
            <a:xfrm>
              <a:off x="7322078" y="4349750"/>
              <a:ext cx="631825" cy="550862"/>
            </a:xfrm>
            <a:custGeom>
              <a:avLst/>
              <a:gdLst/>
              <a:ahLst/>
              <a:cxnLst/>
              <a:rect l="l" t="t" r="r" b="b"/>
              <a:pathLst>
                <a:path w="145" h="126" extrusionOk="0">
                  <a:moveTo>
                    <a:pt x="129" y="126"/>
                  </a:moveTo>
                  <a:cubicBezTo>
                    <a:pt x="17" y="126"/>
                    <a:pt x="17" y="126"/>
                    <a:pt x="17" y="126"/>
                  </a:cubicBezTo>
                  <a:cubicBezTo>
                    <a:pt x="8" y="126"/>
                    <a:pt x="0" y="118"/>
                    <a:pt x="0" y="109"/>
                  </a:cubicBezTo>
                  <a:cubicBezTo>
                    <a:pt x="0" y="81"/>
                    <a:pt x="0" y="81"/>
                    <a:pt x="0" y="81"/>
                  </a:cubicBezTo>
                  <a:cubicBezTo>
                    <a:pt x="0" y="80"/>
                    <a:pt x="1" y="78"/>
                    <a:pt x="3" y="78"/>
                  </a:cubicBezTo>
                  <a:cubicBezTo>
                    <a:pt x="5" y="78"/>
                    <a:pt x="6" y="80"/>
                    <a:pt x="6" y="81"/>
                  </a:cubicBezTo>
                  <a:cubicBezTo>
                    <a:pt x="6" y="109"/>
                    <a:pt x="6" y="109"/>
                    <a:pt x="6" y="109"/>
                  </a:cubicBezTo>
                  <a:cubicBezTo>
                    <a:pt x="6" y="115"/>
                    <a:pt x="11" y="120"/>
                    <a:pt x="17" y="120"/>
                  </a:cubicBezTo>
                  <a:cubicBezTo>
                    <a:pt x="129" y="120"/>
                    <a:pt x="129" y="120"/>
                    <a:pt x="129" y="120"/>
                  </a:cubicBezTo>
                  <a:cubicBezTo>
                    <a:pt x="134" y="120"/>
                    <a:pt x="139" y="115"/>
                    <a:pt x="139" y="109"/>
                  </a:cubicBezTo>
                  <a:cubicBezTo>
                    <a:pt x="139" y="82"/>
                    <a:pt x="139" y="82"/>
                    <a:pt x="139" y="82"/>
                  </a:cubicBezTo>
                  <a:cubicBezTo>
                    <a:pt x="139" y="80"/>
                    <a:pt x="141" y="79"/>
                    <a:pt x="142" y="79"/>
                  </a:cubicBezTo>
                  <a:cubicBezTo>
                    <a:pt x="144" y="79"/>
                    <a:pt x="145" y="80"/>
                    <a:pt x="145" y="82"/>
                  </a:cubicBezTo>
                  <a:cubicBezTo>
                    <a:pt x="145" y="109"/>
                    <a:pt x="145" y="109"/>
                    <a:pt x="145" y="109"/>
                  </a:cubicBezTo>
                  <a:cubicBezTo>
                    <a:pt x="145" y="118"/>
                    <a:pt x="138" y="126"/>
                    <a:pt x="129" y="126"/>
                  </a:cubicBezTo>
                  <a:close/>
                  <a:moveTo>
                    <a:pt x="79" y="90"/>
                  </a:moveTo>
                  <a:cubicBezTo>
                    <a:pt x="67" y="90"/>
                    <a:pt x="67" y="90"/>
                    <a:pt x="67" y="90"/>
                  </a:cubicBezTo>
                  <a:cubicBezTo>
                    <a:pt x="62" y="90"/>
                    <a:pt x="59" y="86"/>
                    <a:pt x="59" y="81"/>
                  </a:cubicBezTo>
                  <a:cubicBezTo>
                    <a:pt x="59" y="67"/>
                    <a:pt x="59" y="67"/>
                    <a:pt x="59" y="67"/>
                  </a:cubicBezTo>
                  <a:cubicBezTo>
                    <a:pt x="59" y="62"/>
                    <a:pt x="62" y="58"/>
                    <a:pt x="67" y="58"/>
                  </a:cubicBezTo>
                  <a:cubicBezTo>
                    <a:pt x="79" y="58"/>
                    <a:pt x="79" y="58"/>
                    <a:pt x="79" y="58"/>
                  </a:cubicBezTo>
                  <a:cubicBezTo>
                    <a:pt x="83" y="58"/>
                    <a:pt x="87" y="62"/>
                    <a:pt x="87" y="67"/>
                  </a:cubicBezTo>
                  <a:cubicBezTo>
                    <a:pt x="87" y="81"/>
                    <a:pt x="87" y="81"/>
                    <a:pt x="87" y="81"/>
                  </a:cubicBezTo>
                  <a:cubicBezTo>
                    <a:pt x="87" y="86"/>
                    <a:pt x="83" y="90"/>
                    <a:pt x="79" y="90"/>
                  </a:cubicBezTo>
                  <a:close/>
                  <a:moveTo>
                    <a:pt x="67" y="64"/>
                  </a:moveTo>
                  <a:cubicBezTo>
                    <a:pt x="66" y="64"/>
                    <a:pt x="65" y="65"/>
                    <a:pt x="65" y="67"/>
                  </a:cubicBezTo>
                  <a:cubicBezTo>
                    <a:pt x="65" y="81"/>
                    <a:pt x="65" y="81"/>
                    <a:pt x="65" y="81"/>
                  </a:cubicBezTo>
                  <a:cubicBezTo>
                    <a:pt x="65" y="83"/>
                    <a:pt x="66" y="84"/>
                    <a:pt x="67" y="84"/>
                  </a:cubicBezTo>
                  <a:cubicBezTo>
                    <a:pt x="79" y="84"/>
                    <a:pt x="79" y="84"/>
                    <a:pt x="79" y="84"/>
                  </a:cubicBezTo>
                  <a:cubicBezTo>
                    <a:pt x="80" y="84"/>
                    <a:pt x="81" y="83"/>
                    <a:pt x="81" y="81"/>
                  </a:cubicBezTo>
                  <a:cubicBezTo>
                    <a:pt x="81" y="67"/>
                    <a:pt x="81" y="67"/>
                    <a:pt x="81" y="67"/>
                  </a:cubicBezTo>
                  <a:cubicBezTo>
                    <a:pt x="81" y="65"/>
                    <a:pt x="80" y="64"/>
                    <a:pt x="79" y="64"/>
                  </a:cubicBezTo>
                  <a:lnTo>
                    <a:pt x="67" y="64"/>
                  </a:lnTo>
                  <a:close/>
                  <a:moveTo>
                    <a:pt x="129" y="77"/>
                  </a:moveTo>
                  <a:cubicBezTo>
                    <a:pt x="96" y="77"/>
                    <a:pt x="96" y="77"/>
                    <a:pt x="96" y="77"/>
                  </a:cubicBezTo>
                  <a:cubicBezTo>
                    <a:pt x="94" y="77"/>
                    <a:pt x="93" y="76"/>
                    <a:pt x="93" y="74"/>
                  </a:cubicBezTo>
                  <a:cubicBezTo>
                    <a:pt x="93" y="72"/>
                    <a:pt x="94" y="71"/>
                    <a:pt x="96" y="71"/>
                  </a:cubicBezTo>
                  <a:cubicBezTo>
                    <a:pt x="129" y="71"/>
                    <a:pt x="129" y="71"/>
                    <a:pt x="129" y="71"/>
                  </a:cubicBezTo>
                  <a:cubicBezTo>
                    <a:pt x="134" y="71"/>
                    <a:pt x="139" y="66"/>
                    <a:pt x="139" y="60"/>
                  </a:cubicBezTo>
                  <a:cubicBezTo>
                    <a:pt x="139" y="39"/>
                    <a:pt x="139" y="39"/>
                    <a:pt x="139" y="39"/>
                  </a:cubicBezTo>
                  <a:cubicBezTo>
                    <a:pt x="139" y="33"/>
                    <a:pt x="134" y="28"/>
                    <a:pt x="129" y="28"/>
                  </a:cubicBezTo>
                  <a:cubicBezTo>
                    <a:pt x="17" y="28"/>
                    <a:pt x="17" y="28"/>
                    <a:pt x="17" y="28"/>
                  </a:cubicBezTo>
                  <a:cubicBezTo>
                    <a:pt x="11" y="28"/>
                    <a:pt x="6" y="33"/>
                    <a:pt x="6" y="39"/>
                  </a:cubicBezTo>
                  <a:cubicBezTo>
                    <a:pt x="6" y="60"/>
                    <a:pt x="6" y="60"/>
                    <a:pt x="6" y="60"/>
                  </a:cubicBezTo>
                  <a:cubicBezTo>
                    <a:pt x="6" y="66"/>
                    <a:pt x="11" y="71"/>
                    <a:pt x="17" y="71"/>
                  </a:cubicBezTo>
                  <a:cubicBezTo>
                    <a:pt x="50" y="71"/>
                    <a:pt x="50" y="71"/>
                    <a:pt x="50" y="71"/>
                  </a:cubicBezTo>
                  <a:cubicBezTo>
                    <a:pt x="52" y="71"/>
                    <a:pt x="53" y="72"/>
                    <a:pt x="53" y="74"/>
                  </a:cubicBezTo>
                  <a:cubicBezTo>
                    <a:pt x="53" y="76"/>
                    <a:pt x="52" y="77"/>
                    <a:pt x="50" y="77"/>
                  </a:cubicBezTo>
                  <a:cubicBezTo>
                    <a:pt x="17" y="77"/>
                    <a:pt x="17" y="77"/>
                    <a:pt x="17" y="77"/>
                  </a:cubicBezTo>
                  <a:cubicBezTo>
                    <a:pt x="8" y="77"/>
                    <a:pt x="0" y="70"/>
                    <a:pt x="0" y="60"/>
                  </a:cubicBezTo>
                  <a:cubicBezTo>
                    <a:pt x="0" y="39"/>
                    <a:pt x="0" y="39"/>
                    <a:pt x="0" y="39"/>
                  </a:cubicBezTo>
                  <a:cubicBezTo>
                    <a:pt x="0" y="30"/>
                    <a:pt x="8" y="22"/>
                    <a:pt x="17" y="22"/>
                  </a:cubicBezTo>
                  <a:cubicBezTo>
                    <a:pt x="129" y="22"/>
                    <a:pt x="129" y="22"/>
                    <a:pt x="129" y="22"/>
                  </a:cubicBezTo>
                  <a:cubicBezTo>
                    <a:pt x="138" y="22"/>
                    <a:pt x="145" y="30"/>
                    <a:pt x="145" y="39"/>
                  </a:cubicBezTo>
                  <a:cubicBezTo>
                    <a:pt x="145" y="63"/>
                    <a:pt x="145" y="63"/>
                    <a:pt x="145" y="63"/>
                  </a:cubicBezTo>
                  <a:cubicBezTo>
                    <a:pt x="145" y="63"/>
                    <a:pt x="145" y="64"/>
                    <a:pt x="145" y="64"/>
                  </a:cubicBezTo>
                  <a:cubicBezTo>
                    <a:pt x="143" y="72"/>
                    <a:pt x="137" y="77"/>
                    <a:pt x="129" y="77"/>
                  </a:cubicBezTo>
                  <a:close/>
                  <a:moveTo>
                    <a:pt x="97" y="17"/>
                  </a:moveTo>
                  <a:cubicBezTo>
                    <a:pt x="95" y="17"/>
                    <a:pt x="94" y="15"/>
                    <a:pt x="94" y="13"/>
                  </a:cubicBezTo>
                  <a:cubicBezTo>
                    <a:pt x="94" y="9"/>
                    <a:pt x="90" y="6"/>
                    <a:pt x="85" y="6"/>
                  </a:cubicBezTo>
                  <a:cubicBezTo>
                    <a:pt x="61" y="6"/>
                    <a:pt x="61" y="6"/>
                    <a:pt x="61" y="6"/>
                  </a:cubicBezTo>
                  <a:cubicBezTo>
                    <a:pt x="56" y="6"/>
                    <a:pt x="52" y="9"/>
                    <a:pt x="52" y="13"/>
                  </a:cubicBezTo>
                  <a:cubicBezTo>
                    <a:pt x="52" y="15"/>
                    <a:pt x="50" y="17"/>
                    <a:pt x="49" y="17"/>
                  </a:cubicBezTo>
                  <a:cubicBezTo>
                    <a:pt x="47" y="17"/>
                    <a:pt x="45" y="15"/>
                    <a:pt x="45" y="13"/>
                  </a:cubicBezTo>
                  <a:cubicBezTo>
                    <a:pt x="45" y="6"/>
                    <a:pt x="52" y="0"/>
                    <a:pt x="61" y="0"/>
                  </a:cubicBezTo>
                  <a:cubicBezTo>
                    <a:pt x="85" y="0"/>
                    <a:pt x="85" y="0"/>
                    <a:pt x="85" y="0"/>
                  </a:cubicBezTo>
                  <a:cubicBezTo>
                    <a:pt x="93" y="0"/>
                    <a:pt x="100" y="6"/>
                    <a:pt x="100" y="13"/>
                  </a:cubicBezTo>
                  <a:cubicBezTo>
                    <a:pt x="100" y="15"/>
                    <a:pt x="99" y="17"/>
                    <a:pt x="97" y="17"/>
                  </a:cubicBezTo>
                  <a:close/>
                </a:path>
              </a:pathLst>
            </a:custGeom>
            <a:solidFill>
              <a:schemeClr val="accent2"/>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Calibri"/>
                <a:cs typeface="Calibri"/>
                <a:sym typeface="Calibri"/>
              </a:endParaRPr>
            </a:p>
          </p:txBody>
        </p:sp>
      </p:grpSp>
      <p:sp>
        <p:nvSpPr>
          <p:cNvPr id="6" name="TextBox 5">
            <a:extLst>
              <a:ext uri="{FF2B5EF4-FFF2-40B4-BE49-F238E27FC236}">
                <a16:creationId xmlns:a16="http://schemas.microsoft.com/office/drawing/2014/main" id="{BD7AA0B0-B891-B97B-6E9D-8856CC601784}"/>
              </a:ext>
            </a:extLst>
          </p:cNvPr>
          <p:cNvSpPr txBox="1"/>
          <p:nvPr/>
        </p:nvSpPr>
        <p:spPr>
          <a:xfrm>
            <a:off x="6935466" y="2546975"/>
            <a:ext cx="3879677" cy="400110"/>
          </a:xfrm>
          <a:prstGeom prst="rect">
            <a:avLst/>
          </a:prstGeom>
          <a:solidFill>
            <a:schemeClr val="bg1">
              <a:alpha val="1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black">
                    <a:lumMod val="65000"/>
                    <a:lumOff val="35000"/>
                  </a:prstClr>
                </a:solidFill>
                <a:effectLst/>
                <a:uLnTx/>
                <a:uFillTx/>
                <a:latin typeface="Poppins" panose="00000500000000000000" pitchFamily="2" charset="0"/>
                <a:ea typeface="+mn-ea"/>
                <a:cs typeface="Poppins" panose="00000500000000000000" pitchFamily="2" charset="0"/>
              </a:rPr>
              <a:t>Trade Marketing Plans </a:t>
            </a:r>
          </a:p>
        </p:txBody>
      </p:sp>
    </p:spTree>
    <p:extLst>
      <p:ext uri="{BB962C8B-B14F-4D97-AF65-F5344CB8AC3E}">
        <p14:creationId xmlns:p14="http://schemas.microsoft.com/office/powerpoint/2010/main" val="18054028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6C486B8-B2CE-D2AA-37DD-44943C227CB9}"/>
              </a:ext>
            </a:extLst>
          </p:cNvPr>
          <p:cNvSpPr txBox="1"/>
          <p:nvPr/>
        </p:nvSpPr>
        <p:spPr>
          <a:xfrm>
            <a:off x="3123119" y="1410063"/>
            <a:ext cx="4385677" cy="646331"/>
          </a:xfrm>
          <a:prstGeom prst="rect">
            <a:avLst/>
          </a:prstGeom>
          <a:solidFill>
            <a:schemeClr val="accent3">
              <a:lumMod val="40000"/>
              <a:lumOff val="60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1" u="none" strike="noStrike" kern="1200" cap="none" spc="0" normalizeH="0" baseline="0" noProof="0" dirty="0">
                <a:ln>
                  <a:noFill/>
                </a:ln>
                <a:solidFill>
                  <a:prstClr val="black"/>
                </a:solidFill>
                <a:effectLst/>
                <a:uLnTx/>
                <a:uFillTx/>
                <a:latin typeface="Lato Light"/>
                <a:ea typeface="+mn-ea"/>
                <a:cs typeface="+mn-cs"/>
              </a:rPr>
              <a:t>An objective is what you want to achiev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1" u="none" strike="noStrike" kern="1200" cap="none" spc="0" normalizeH="0" baseline="0" noProof="0" dirty="0">
                <a:ln>
                  <a:noFill/>
                </a:ln>
                <a:solidFill>
                  <a:prstClr val="black"/>
                </a:solidFill>
                <a:effectLst/>
                <a:uLnTx/>
                <a:uFillTx/>
                <a:latin typeface="Lato Light"/>
                <a:ea typeface="+mn-ea"/>
                <a:cs typeface="+mn-cs"/>
              </a:rPr>
              <a:t>A strategy is how you plan to achieve your objectives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1" u="none" strike="noStrike" kern="1200" cap="none" spc="0" normalizeH="0" baseline="0" noProof="0" dirty="0">
                <a:ln>
                  <a:noFill/>
                </a:ln>
                <a:solidFill>
                  <a:prstClr val="black"/>
                </a:solidFill>
                <a:effectLst/>
                <a:uLnTx/>
                <a:uFillTx/>
                <a:latin typeface="Lato Light"/>
                <a:ea typeface="+mn-ea"/>
                <a:cs typeface="+mn-cs"/>
              </a:rPr>
              <a:t>Tactics are a series of steps engaged in to deliver the strategy  </a:t>
            </a:r>
          </a:p>
        </p:txBody>
      </p:sp>
      <p:sp>
        <p:nvSpPr>
          <p:cNvPr id="7" name="TextBox 6">
            <a:extLst>
              <a:ext uri="{FF2B5EF4-FFF2-40B4-BE49-F238E27FC236}">
                <a16:creationId xmlns:a16="http://schemas.microsoft.com/office/drawing/2014/main" id="{8D473A24-9D53-69C5-594B-FFCB2675807C}"/>
              </a:ext>
            </a:extLst>
          </p:cNvPr>
          <p:cNvSpPr txBox="1"/>
          <p:nvPr/>
        </p:nvSpPr>
        <p:spPr>
          <a:xfrm>
            <a:off x="355851" y="2464991"/>
            <a:ext cx="7411736" cy="29700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dirty="0">
                <a:ln>
                  <a:noFill/>
                </a:ln>
                <a:solidFill>
                  <a:srgbClr val="000000"/>
                </a:solidFill>
                <a:effectLst/>
                <a:uLnTx/>
                <a:uFillTx/>
                <a:latin typeface="Lato Light"/>
                <a:ea typeface="+mn-ea"/>
                <a:cs typeface="+mn-cs"/>
              </a:rPr>
              <a:t>There can be objectives and strategies for varying levels in trade marketing.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1" u="none" strike="noStrike" kern="1200" cap="none" spc="0" normalizeH="0" baseline="0" noProof="0" dirty="0">
              <a:ln>
                <a:noFill/>
              </a:ln>
              <a:solidFill>
                <a:srgbClr val="000000"/>
              </a:solidFill>
              <a:effectLst/>
              <a:uLnTx/>
              <a:uFillTx/>
              <a:latin typeface="Lato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dirty="0">
                <a:ln>
                  <a:noFill/>
                </a:ln>
                <a:solidFill>
                  <a:srgbClr val="000000"/>
                </a:solidFill>
                <a:effectLst/>
                <a:uLnTx/>
                <a:uFillTx/>
                <a:latin typeface="Lato Light"/>
                <a:ea typeface="+mn-ea"/>
                <a:cs typeface="+mn-cs"/>
              </a:rPr>
              <a:t>Overall Trade marketing objectives are brand driven and resultant in shelf offtake and market share gains in general versus identified competition, its important this aligns with the business and corporate direc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1" u="none" strike="noStrike" kern="1200" cap="none" spc="0" normalizeH="0" baseline="0" noProof="0" dirty="0">
              <a:ln>
                <a:noFill/>
              </a:ln>
              <a:solidFill>
                <a:srgbClr val="000000"/>
              </a:solidFill>
              <a:effectLst/>
              <a:uLnTx/>
              <a:uFillTx/>
              <a:latin typeface="Lato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dirty="0">
                <a:ln>
                  <a:noFill/>
                </a:ln>
                <a:solidFill>
                  <a:srgbClr val="000000"/>
                </a:solidFill>
                <a:effectLst/>
                <a:uLnTx/>
                <a:uFillTx/>
                <a:latin typeface="Lato Light"/>
                <a:ea typeface="+mn-ea"/>
                <a:cs typeface="+mn-cs"/>
              </a:rPr>
              <a:t>Tactically for example, there can be branding objectives , category presence, POS, Display , Consumer engagement, displays, consumer contacts, volume offtake, market share improvement etc , all of which are framed differently and come one level below in the tactical engagement part, and strategies and pricing objectives and strateg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1" u="none" strike="noStrike" kern="1200" cap="none" spc="0" normalizeH="0" baseline="0" noProof="0" dirty="0">
              <a:ln>
                <a:noFill/>
              </a:ln>
              <a:solidFill>
                <a:srgbClr val="000000"/>
              </a:solidFill>
              <a:effectLst/>
              <a:uLnTx/>
              <a:uFillTx/>
              <a:latin typeface="Lato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dirty="0">
                <a:ln>
                  <a:noFill/>
                </a:ln>
                <a:solidFill>
                  <a:srgbClr val="000000"/>
                </a:solidFill>
                <a:effectLst/>
                <a:uLnTx/>
                <a:uFillTx/>
                <a:latin typeface="Lato Light"/>
                <a:ea typeface="+mn-ea"/>
                <a:cs typeface="+mn-cs"/>
              </a:rPr>
              <a:t>However, the important point to remember about trade marketing objectives is that they are about products and markets. Common sense will confirm that it is only by selling something to someone that the company’s financial goals can be achieved, and that advertising, pricing, service levels, are the means (or tactics) by which we might succeed in doing thi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1" u="none" strike="noStrike" kern="1200" cap="none" spc="0" normalizeH="0" baseline="0" noProof="0" dirty="0">
              <a:ln>
                <a:noFill/>
              </a:ln>
              <a:solidFill>
                <a:srgbClr val="000000"/>
              </a:solidFill>
              <a:effectLst/>
              <a:uLnTx/>
              <a:uFillTx/>
              <a:latin typeface="Lato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dirty="0">
                <a:ln>
                  <a:noFill/>
                </a:ln>
                <a:solidFill>
                  <a:srgbClr val="000000"/>
                </a:solidFill>
                <a:effectLst/>
                <a:uLnTx/>
                <a:uFillTx/>
                <a:latin typeface="Lato Light"/>
                <a:ea typeface="+mn-ea"/>
                <a:cs typeface="+mn-cs"/>
              </a:rPr>
              <a:t>Objectives should be capable of measurement, Directional terms such as “maximize”, “minimize”, “penetrate”, “increase”, etc. are only acceptable if quantitative measurement can be attached to them. Measurement should be in terms of some, or all, of the following: sales volume, sales value, market share, profit, and percentage penetration of outlets (e.g. to have 25% of all retail outlets stocking our product by year 2).</a:t>
            </a:r>
            <a:endParaRPr kumimoji="0" lang="en-GB" sz="1100" b="0" i="1" u="none" strike="noStrike" kern="1200" cap="none" spc="0" normalizeH="0" baseline="0" noProof="0" dirty="0">
              <a:ln>
                <a:noFill/>
              </a:ln>
              <a:solidFill>
                <a:prstClr val="black"/>
              </a:solidFill>
              <a:effectLst/>
              <a:uLnTx/>
              <a:uFillTx/>
              <a:latin typeface="Lato Light"/>
              <a:ea typeface="+mn-ea"/>
              <a:cs typeface="+mn-cs"/>
            </a:endParaRPr>
          </a:p>
        </p:txBody>
      </p:sp>
      <p:sp>
        <p:nvSpPr>
          <p:cNvPr id="10" name="TextBox 9">
            <a:extLst>
              <a:ext uri="{FF2B5EF4-FFF2-40B4-BE49-F238E27FC236}">
                <a16:creationId xmlns:a16="http://schemas.microsoft.com/office/drawing/2014/main" id="{24171ED8-85ED-FAB6-E804-379BDC8D5724}"/>
              </a:ext>
            </a:extLst>
          </p:cNvPr>
          <p:cNvSpPr txBox="1"/>
          <p:nvPr/>
        </p:nvSpPr>
        <p:spPr>
          <a:xfrm>
            <a:off x="116542" y="74495"/>
            <a:ext cx="10056158" cy="800219"/>
          </a:xfrm>
          <a:prstGeom prst="rect">
            <a:avLst/>
          </a:prstGeom>
          <a:solidFill>
            <a:schemeClr val="bg1"/>
          </a:solid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ning Process</a:t>
            </a: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keting Objectives</a:t>
            </a:r>
          </a:p>
        </p:txBody>
      </p:sp>
      <p:pic>
        <p:nvPicPr>
          <p:cNvPr id="11" name="Picture 10" descr="Logo&#10;&#10;Description automatically generated">
            <a:extLst>
              <a:ext uri="{FF2B5EF4-FFF2-40B4-BE49-F238E27FC236}">
                <a16:creationId xmlns:a16="http://schemas.microsoft.com/office/drawing/2014/main" id="{382AE890-2BCD-4370-E2C0-958CAE0EFAC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12" name="Footer Placeholder 3">
            <a:extLst>
              <a:ext uri="{FF2B5EF4-FFF2-40B4-BE49-F238E27FC236}">
                <a16:creationId xmlns:a16="http://schemas.microsoft.com/office/drawing/2014/main" id="{32206FFF-CC99-9BD6-BC9A-4DBD9F67BEB7}"/>
              </a:ext>
            </a:extLst>
          </p:cNvPr>
          <p:cNvSpPr>
            <a:spLocks noGrp="1"/>
          </p:cNvSpPr>
          <p:nvPr>
            <p:ph type="ftr" sz="quarter" idx="11"/>
          </p:nvPr>
        </p:nvSpPr>
        <p:spPr>
          <a:xfrm>
            <a:off x="403860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Lato Light"/>
                <a:ea typeface="+mn-ea"/>
                <a:cs typeface="+mn-cs"/>
              </a:rPr>
              <a:t>www.upskilpro.com</a:t>
            </a:r>
            <a:endParaRPr kumimoji="0" lang="en-GB" sz="1200" b="0" i="0" u="none" strike="noStrike" kern="1200" cap="none" spc="0" normalizeH="0" baseline="0" noProof="0" dirty="0">
              <a:ln>
                <a:noFill/>
              </a:ln>
              <a:solidFill>
                <a:prstClr val="black">
                  <a:tint val="75000"/>
                </a:prstClr>
              </a:solidFill>
              <a:effectLst/>
              <a:uLnTx/>
              <a:uFillTx/>
              <a:latin typeface="Lato Light"/>
              <a:ea typeface="+mn-ea"/>
              <a:cs typeface="+mn-cs"/>
            </a:endParaRPr>
          </a:p>
        </p:txBody>
      </p:sp>
      <p:sp>
        <p:nvSpPr>
          <p:cNvPr id="15" name="TextBox 14">
            <a:extLst>
              <a:ext uri="{FF2B5EF4-FFF2-40B4-BE49-F238E27FC236}">
                <a16:creationId xmlns:a16="http://schemas.microsoft.com/office/drawing/2014/main" id="{87ADC6EB-3B40-053C-45A9-D9760476D82E}"/>
              </a:ext>
            </a:extLst>
          </p:cNvPr>
          <p:cNvSpPr txBox="1"/>
          <p:nvPr/>
        </p:nvSpPr>
        <p:spPr>
          <a:xfrm>
            <a:off x="7742552" y="3384495"/>
            <a:ext cx="3522467" cy="400110"/>
          </a:xfrm>
          <a:prstGeom prst="rect">
            <a:avLst/>
          </a:prstGeom>
          <a:solidFill>
            <a:schemeClr val="accent3">
              <a:lumMod val="40000"/>
              <a:lumOff val="60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1" u="none" strike="noStrike" kern="1200" cap="none" spc="0" normalizeH="0" baseline="0" noProof="0" dirty="0">
                <a:ln>
                  <a:noFill/>
                </a:ln>
                <a:solidFill>
                  <a:srgbClr val="000000"/>
                </a:solidFill>
                <a:effectLst/>
                <a:uLnTx/>
                <a:uFillTx/>
                <a:latin typeface="Lato Light"/>
                <a:ea typeface="+mn-ea"/>
                <a:cs typeface="+mn-cs"/>
              </a:rPr>
              <a:t>The elements of Trade Marketing are reflected in the below matrix requiring a prioritized manner of application </a:t>
            </a:r>
          </a:p>
        </p:txBody>
      </p:sp>
      <p:graphicFrame>
        <p:nvGraphicFramePr>
          <p:cNvPr id="2" name="Table 9">
            <a:extLst>
              <a:ext uri="{FF2B5EF4-FFF2-40B4-BE49-F238E27FC236}">
                <a16:creationId xmlns:a16="http://schemas.microsoft.com/office/drawing/2014/main" id="{1C748390-8EDC-0FF6-AAE4-CA63992F4EEB}"/>
              </a:ext>
            </a:extLst>
          </p:cNvPr>
          <p:cNvGraphicFramePr>
            <a:graphicFrameLocks noGrp="1"/>
          </p:cNvGraphicFramePr>
          <p:nvPr>
            <p:extLst>
              <p:ext uri="{D42A27DB-BD31-4B8C-83A1-F6EECF244321}">
                <p14:modId xmlns:p14="http://schemas.microsoft.com/office/powerpoint/2010/main" val="3536264314"/>
              </p:ext>
            </p:extLst>
          </p:nvPr>
        </p:nvGraphicFramePr>
        <p:xfrm>
          <a:off x="7760569" y="3842280"/>
          <a:ext cx="3504450" cy="756747"/>
        </p:xfrm>
        <a:graphic>
          <a:graphicData uri="http://schemas.openxmlformats.org/drawingml/2006/table">
            <a:tbl>
              <a:tblPr firstRow="1" bandRow="1">
                <a:tableStyleId>{5C22544A-7EE6-4342-B048-85BDC9FD1C3A}</a:tableStyleId>
              </a:tblPr>
              <a:tblGrid>
                <a:gridCol w="1168150">
                  <a:extLst>
                    <a:ext uri="{9D8B030D-6E8A-4147-A177-3AD203B41FA5}">
                      <a16:colId xmlns:a16="http://schemas.microsoft.com/office/drawing/2014/main" val="2372632144"/>
                    </a:ext>
                  </a:extLst>
                </a:gridCol>
                <a:gridCol w="1168150">
                  <a:extLst>
                    <a:ext uri="{9D8B030D-6E8A-4147-A177-3AD203B41FA5}">
                      <a16:colId xmlns:a16="http://schemas.microsoft.com/office/drawing/2014/main" val="3703410802"/>
                    </a:ext>
                  </a:extLst>
                </a:gridCol>
                <a:gridCol w="1168150">
                  <a:extLst>
                    <a:ext uri="{9D8B030D-6E8A-4147-A177-3AD203B41FA5}">
                      <a16:colId xmlns:a16="http://schemas.microsoft.com/office/drawing/2014/main" val="4207425327"/>
                    </a:ext>
                  </a:extLst>
                </a:gridCol>
              </a:tblGrid>
              <a:tr h="252249">
                <a:tc>
                  <a:txBody>
                    <a:bodyPr/>
                    <a:lstStyle/>
                    <a:p>
                      <a:pPr algn="ctr"/>
                      <a:r>
                        <a:rPr lang="en-GB" sz="800" b="1" dirty="0">
                          <a:solidFill>
                            <a:schemeClr val="bg1"/>
                          </a:solidFill>
                          <a:latin typeface="Poppins" panose="00000500000000000000" pitchFamily="2" charset="0"/>
                          <a:cs typeface="Poppins" panose="00000500000000000000" pitchFamily="2" charset="0"/>
                        </a:rPr>
                        <a:t>Marke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lang="en-GB" sz="800" b="1" dirty="0">
                          <a:solidFill>
                            <a:schemeClr val="bg1"/>
                          </a:solidFill>
                          <a:latin typeface="Poppins" panose="00000500000000000000" pitchFamily="2" charset="0"/>
                          <a:cs typeface="Poppins" panose="00000500000000000000" pitchFamily="2" charset="0"/>
                        </a:rPr>
                        <a:t>Accou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lang="en-GB" sz="800" b="1" dirty="0">
                          <a:solidFill>
                            <a:schemeClr val="bg1"/>
                          </a:solidFill>
                          <a:latin typeface="Poppins" panose="00000500000000000000" pitchFamily="2" charset="0"/>
                          <a:cs typeface="Poppins" panose="00000500000000000000" pitchFamily="2" charset="0"/>
                        </a:rPr>
                        <a:t>Catego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extLst>
                  <a:ext uri="{0D108BD9-81ED-4DB2-BD59-A6C34878D82A}">
                    <a16:rowId xmlns:a16="http://schemas.microsoft.com/office/drawing/2014/main" val="2521184923"/>
                  </a:ext>
                </a:extLst>
              </a:tr>
              <a:tr h="252249">
                <a:tc>
                  <a:txBody>
                    <a:bodyPr/>
                    <a:lstStyle/>
                    <a:p>
                      <a:pPr algn="ctr"/>
                      <a:r>
                        <a:rPr lang="en-GB" sz="800" b="1" dirty="0">
                          <a:solidFill>
                            <a:schemeClr val="bg1"/>
                          </a:solidFill>
                          <a:latin typeface="Poppins" panose="00000500000000000000" pitchFamily="2" charset="0"/>
                          <a:cs typeface="Poppins" panose="00000500000000000000" pitchFamily="2" charset="0"/>
                        </a:rPr>
                        <a:t>Portfoli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r>
                        <a:rPr lang="en-GB" sz="800" b="1" dirty="0">
                          <a:solidFill>
                            <a:schemeClr val="bg1"/>
                          </a:solidFill>
                          <a:latin typeface="Poppins" panose="00000500000000000000" pitchFamily="2" charset="0"/>
                          <a:cs typeface="Poppins" panose="00000500000000000000" pitchFamily="2" charset="0"/>
                        </a:rPr>
                        <a:t>Budge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lang="en-GB" sz="800" b="1" dirty="0">
                          <a:solidFill>
                            <a:schemeClr val="bg1"/>
                          </a:solidFill>
                          <a:latin typeface="Poppins" panose="00000500000000000000" pitchFamily="2" charset="0"/>
                          <a:cs typeface="Poppins" panose="00000500000000000000" pitchFamily="2" charset="0"/>
                        </a:rPr>
                        <a:t>Custome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486939959"/>
                  </a:ext>
                </a:extLst>
              </a:tr>
              <a:tr h="252249">
                <a:tc>
                  <a:txBody>
                    <a:bodyPr/>
                    <a:lstStyle/>
                    <a:p>
                      <a:pPr algn="ctr"/>
                      <a:r>
                        <a:rPr lang="en-GB" sz="800" b="1" dirty="0">
                          <a:solidFill>
                            <a:schemeClr val="bg1"/>
                          </a:solidFill>
                          <a:latin typeface="Poppins" panose="00000500000000000000" pitchFamily="2" charset="0"/>
                          <a:cs typeface="Poppins" panose="00000500000000000000" pitchFamily="2" charset="0"/>
                        </a:rPr>
                        <a:t>Tactic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lang="en-GB" sz="800" b="1" dirty="0">
                          <a:solidFill>
                            <a:schemeClr val="bg1"/>
                          </a:solidFill>
                          <a:latin typeface="Poppins" panose="00000500000000000000" pitchFamily="2" charset="0"/>
                          <a:cs typeface="Poppins" panose="00000500000000000000" pitchFamily="2" charset="0"/>
                        </a:rPr>
                        <a:t>Timefram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r>
                        <a:rPr lang="en-GB" sz="800" b="1" dirty="0">
                          <a:solidFill>
                            <a:schemeClr val="bg1"/>
                          </a:solidFill>
                          <a:latin typeface="Poppins" panose="00000500000000000000" pitchFamily="2" charset="0"/>
                          <a:cs typeface="Poppins" panose="00000500000000000000" pitchFamily="2" charset="0"/>
                        </a:rPr>
                        <a:t>Organis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334289503"/>
                  </a:ext>
                </a:extLst>
              </a:tr>
            </a:tbl>
          </a:graphicData>
        </a:graphic>
      </p:graphicFrame>
      <p:grpSp>
        <p:nvGrpSpPr>
          <p:cNvPr id="14" name="Group 13">
            <a:extLst>
              <a:ext uri="{FF2B5EF4-FFF2-40B4-BE49-F238E27FC236}">
                <a16:creationId xmlns:a16="http://schemas.microsoft.com/office/drawing/2014/main" id="{A91651E6-A016-7A43-B88C-F503B5651CCC}"/>
              </a:ext>
            </a:extLst>
          </p:cNvPr>
          <p:cNvGrpSpPr/>
          <p:nvPr/>
        </p:nvGrpSpPr>
        <p:grpSpPr>
          <a:xfrm>
            <a:off x="7783091" y="2164099"/>
            <a:ext cx="3315263" cy="1218731"/>
            <a:chOff x="4891815" y="3010933"/>
            <a:chExt cx="3315263" cy="1218731"/>
          </a:xfrm>
        </p:grpSpPr>
        <p:pic>
          <p:nvPicPr>
            <p:cNvPr id="8" name="Picture 7">
              <a:extLst>
                <a:ext uri="{FF2B5EF4-FFF2-40B4-BE49-F238E27FC236}">
                  <a16:creationId xmlns:a16="http://schemas.microsoft.com/office/drawing/2014/main" id="{3B1A3E79-DB55-4481-613B-9778440A3816}"/>
                </a:ext>
              </a:extLst>
            </p:cNvPr>
            <p:cNvPicPr>
              <a:picLocks noChangeAspect="1"/>
            </p:cNvPicPr>
            <p:nvPr/>
          </p:nvPicPr>
          <p:blipFill rotWithShape="1">
            <a:blip r:embed="rId3"/>
            <a:srcRect b="11470"/>
            <a:stretch/>
          </p:blipFill>
          <p:spPr>
            <a:xfrm>
              <a:off x="4891815" y="3112632"/>
              <a:ext cx="3315263" cy="1117032"/>
            </a:xfrm>
            <a:prstGeom prst="rect">
              <a:avLst/>
            </a:prstGeom>
          </p:spPr>
        </p:pic>
        <p:sp>
          <p:nvSpPr>
            <p:cNvPr id="9" name="Rectangle 8">
              <a:extLst>
                <a:ext uri="{FF2B5EF4-FFF2-40B4-BE49-F238E27FC236}">
                  <a16:creationId xmlns:a16="http://schemas.microsoft.com/office/drawing/2014/main" id="{0DCEA23F-A204-2EE7-89E4-9D9F4783A618}"/>
                </a:ext>
              </a:extLst>
            </p:cNvPr>
            <p:cNvSpPr/>
            <p:nvPr/>
          </p:nvSpPr>
          <p:spPr>
            <a:xfrm>
              <a:off x="5544958" y="3274723"/>
              <a:ext cx="1932402" cy="26125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Light"/>
                <a:ea typeface="+mn-ea"/>
                <a:cs typeface="+mn-cs"/>
              </a:endParaRPr>
            </a:p>
          </p:txBody>
        </p:sp>
        <p:sp>
          <p:nvSpPr>
            <p:cNvPr id="13" name="TextBox 12">
              <a:extLst>
                <a:ext uri="{FF2B5EF4-FFF2-40B4-BE49-F238E27FC236}">
                  <a16:creationId xmlns:a16="http://schemas.microsoft.com/office/drawing/2014/main" id="{EB8403E3-9F6E-6DAE-FF2A-FB39B822F373}"/>
                </a:ext>
              </a:extLst>
            </p:cNvPr>
            <p:cNvSpPr txBox="1"/>
            <p:nvPr/>
          </p:nvSpPr>
          <p:spPr>
            <a:xfrm>
              <a:off x="5331889" y="3010933"/>
              <a:ext cx="2424746" cy="646331"/>
            </a:xfrm>
            <a:prstGeom prst="rect">
              <a:avLst/>
            </a:prstGeom>
            <a:solidFill>
              <a:schemeClr val="bg1">
                <a:alpha val="1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lumMod val="65000"/>
                      <a:lumOff val="35000"/>
                    </a:prstClr>
                  </a:solidFill>
                  <a:effectLst/>
                  <a:uLnTx/>
                  <a:uFillTx/>
                  <a:latin typeface="Arial Black" panose="020B0A04020102020204" pitchFamily="34" charset="0"/>
                  <a:ea typeface="+mn-ea"/>
                  <a:cs typeface="+mn-cs"/>
                </a:rPr>
                <a:t>Trade Marketing Plans </a:t>
              </a:r>
            </a:p>
          </p:txBody>
        </p:sp>
      </p:grpSp>
    </p:spTree>
    <p:extLst>
      <p:ext uri="{BB962C8B-B14F-4D97-AF65-F5344CB8AC3E}">
        <p14:creationId xmlns:p14="http://schemas.microsoft.com/office/powerpoint/2010/main" val="18422917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B0D527A7-9BFD-8B3C-B2AA-16150CD6C636}"/>
              </a:ext>
            </a:extLst>
          </p:cNvPr>
          <p:cNvSpPr txBox="1"/>
          <p:nvPr/>
        </p:nvSpPr>
        <p:spPr>
          <a:xfrm>
            <a:off x="-1" y="2136808"/>
            <a:ext cx="8508734" cy="2862322"/>
          </a:xfrm>
          <a:prstGeom prst="rect">
            <a:avLst/>
          </a:prstGeom>
          <a:solidFill>
            <a:schemeClr val="accent1"/>
          </a:solid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lang="en-GB" sz="2000" b="1" dirty="0">
              <a:solidFill>
                <a:prstClr val="white"/>
              </a:solidFill>
              <a:latin typeface="Poppins" panose="00000500000000000000" pitchFamily="2" charset="0"/>
              <a:cs typeface="Poppins" panose="00000500000000000000" pitchFamily="2" charset="0"/>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lang="en-GB" sz="2000" b="1" dirty="0">
              <a:solidFill>
                <a:prstClr val="white"/>
              </a:solidFill>
              <a:latin typeface="Poppins" panose="00000500000000000000" pitchFamily="2" charset="0"/>
              <a:cs typeface="Poppins" panose="00000500000000000000" pitchFamily="2" charset="0"/>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lang="en-GB" sz="2000" b="1" dirty="0">
              <a:solidFill>
                <a:prstClr val="white"/>
              </a:solidFill>
              <a:latin typeface="Poppins" panose="00000500000000000000" pitchFamily="2" charset="0"/>
              <a:cs typeface="Poppins" panose="00000500000000000000" pitchFamily="2" charset="0"/>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lang="en-GB" sz="2000" b="1" dirty="0">
              <a:solidFill>
                <a:prstClr val="white"/>
              </a:solidFill>
              <a:latin typeface="Poppins" panose="00000500000000000000" pitchFamily="2" charset="0"/>
              <a:cs typeface="Poppins" panose="00000500000000000000" pitchFamily="2" charset="0"/>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endParaRPr>
          </a:p>
        </p:txBody>
      </p:sp>
      <p:pic>
        <p:nvPicPr>
          <p:cNvPr id="14" name="Picture 13" descr="Logo&#10;&#10;Description automatically generated">
            <a:extLst>
              <a:ext uri="{FF2B5EF4-FFF2-40B4-BE49-F238E27FC236}">
                <a16:creationId xmlns:a16="http://schemas.microsoft.com/office/drawing/2014/main" id="{EF62DA05-0C56-6B0E-B1D3-3BB9E96851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15" name="Footer Placeholder 3">
            <a:extLst>
              <a:ext uri="{FF2B5EF4-FFF2-40B4-BE49-F238E27FC236}">
                <a16:creationId xmlns:a16="http://schemas.microsoft.com/office/drawing/2014/main" id="{98DBF2EC-DC7B-7DF4-C6DB-C6B53EFA037B}"/>
              </a:ext>
            </a:extLst>
          </p:cNvPr>
          <p:cNvSpPr>
            <a:spLocks noGrp="1"/>
          </p:cNvSpPr>
          <p:nvPr>
            <p:ph type="ftr" sz="quarter" idx="11"/>
          </p:nvPr>
        </p:nvSpPr>
        <p:spPr>
          <a:xfrm>
            <a:off x="403860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tint val="75000"/>
                  </a:prstClr>
                </a:solidFill>
                <a:effectLst/>
                <a:uLnTx/>
                <a:uFillTx/>
                <a:latin typeface="Lato Light"/>
                <a:ea typeface="+mn-ea"/>
                <a:cs typeface="+mn-cs"/>
              </a:rPr>
              <a:t>www.upskilpro.com</a:t>
            </a:r>
          </a:p>
        </p:txBody>
      </p:sp>
      <p:pic>
        <p:nvPicPr>
          <p:cNvPr id="2" name="Picture 2" descr="Quotes about Marketing plans (38 quotes)">
            <a:extLst>
              <a:ext uri="{FF2B5EF4-FFF2-40B4-BE49-F238E27FC236}">
                <a16:creationId xmlns:a16="http://schemas.microsoft.com/office/drawing/2014/main" id="{0EC16D7C-8229-519E-3751-FA560196661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3805" t="14723" r="13909" b="16035"/>
          <a:stretch/>
        </p:blipFill>
        <p:spPr bwMode="auto">
          <a:xfrm>
            <a:off x="8403600" y="2146155"/>
            <a:ext cx="3788400" cy="2839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17489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F6CF9FB-8365-E9A4-AEF7-7F2FBF359933}"/>
              </a:ext>
            </a:extLst>
          </p:cNvPr>
          <p:cNvSpPr txBox="1"/>
          <p:nvPr/>
        </p:nvSpPr>
        <p:spPr>
          <a:xfrm>
            <a:off x="268941" y="207845"/>
            <a:ext cx="7951327" cy="746423"/>
          </a:xfrm>
          <a:prstGeom prst="rect">
            <a:avLst/>
          </a:prstGeom>
          <a:noFill/>
          <a:ln>
            <a:noFill/>
          </a:ln>
        </p:spPr>
        <p:txBody>
          <a:bodyPr wrap="square" rtlCol="0">
            <a:spAutoFit/>
          </a:bodyPr>
          <a:lstStyle/>
          <a:p>
            <a:pPr defTabSz="435356">
              <a:defRPr/>
            </a:pPr>
            <a:r>
              <a:rPr lang="en-GB" sz="2800" b="1" dirty="0">
                <a:solidFill>
                  <a:srgbClr val="2A4A8B"/>
                </a:solidFill>
                <a:latin typeface="Poppins" panose="00000500000000000000" pitchFamily="2" charset="0"/>
                <a:cs typeface="Poppins" panose="00000500000000000000" pitchFamily="2" charset="0"/>
              </a:rPr>
              <a:t>Trade Marketing  </a:t>
            </a:r>
            <a:endParaRPr lang="en-GB" sz="3200" b="1" dirty="0">
              <a:solidFill>
                <a:srgbClr val="2A4A8B"/>
              </a:solidFill>
              <a:latin typeface="Poppins" panose="00000500000000000000" pitchFamily="2" charset="0"/>
              <a:cs typeface="Poppins" panose="00000500000000000000" pitchFamily="2" charset="0"/>
            </a:endParaRPr>
          </a:p>
          <a:p>
            <a:pPr>
              <a:lnSpc>
                <a:spcPct val="107000"/>
              </a:lnSpc>
              <a:spcAft>
                <a:spcPts val="800"/>
              </a:spcAft>
            </a:pPr>
            <a:r>
              <a:rPr lang="en-GB" sz="1400" dirty="0">
                <a:effectLst/>
                <a:latin typeface="Poppins" panose="00000500000000000000" pitchFamily="2" charset="0"/>
                <a:ea typeface="Lato Light" panose="020F0502020204030203" pitchFamily="34" charset="0"/>
                <a:cs typeface="Poppins" panose="00000500000000000000" pitchFamily="2" charset="0"/>
              </a:rPr>
              <a:t>Examples of TM .</a:t>
            </a:r>
          </a:p>
        </p:txBody>
      </p:sp>
      <p:pic>
        <p:nvPicPr>
          <p:cNvPr id="3" name="Picture 2" descr="Logo&#10;&#10;Description automatically generated">
            <a:extLst>
              <a:ext uri="{FF2B5EF4-FFF2-40B4-BE49-F238E27FC236}">
                <a16:creationId xmlns:a16="http://schemas.microsoft.com/office/drawing/2014/main" id="{088BC040-BD61-F986-0890-C742B091CFB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4" name="Footer Placeholder 3">
            <a:extLst>
              <a:ext uri="{FF2B5EF4-FFF2-40B4-BE49-F238E27FC236}">
                <a16:creationId xmlns:a16="http://schemas.microsoft.com/office/drawing/2014/main" id="{5E4EA2A7-3B56-B835-9593-14A7CE1E3571}"/>
              </a:ext>
            </a:extLst>
          </p:cNvPr>
          <p:cNvSpPr>
            <a:spLocks noGrp="1"/>
          </p:cNvSpPr>
          <p:nvPr>
            <p:ph type="ftr" sz="quarter" idx="11"/>
          </p:nvPr>
        </p:nvSpPr>
        <p:spPr>
          <a:xfrm>
            <a:off x="4038600" y="6356350"/>
            <a:ext cx="4114800" cy="365125"/>
          </a:xfrm>
        </p:spPr>
        <p:txBody>
          <a:bodyPr/>
          <a:lstStyle/>
          <a:p>
            <a:r>
              <a:rPr lang="en-GB" dirty="0"/>
              <a:t>www.upskilpro.com</a:t>
            </a:r>
          </a:p>
        </p:txBody>
      </p:sp>
      <p:sp>
        <p:nvSpPr>
          <p:cNvPr id="5" name="TextBox 4">
            <a:extLst>
              <a:ext uri="{FF2B5EF4-FFF2-40B4-BE49-F238E27FC236}">
                <a16:creationId xmlns:a16="http://schemas.microsoft.com/office/drawing/2014/main" id="{28F38248-6BB6-3CAC-2967-DF1B023BF5A7}"/>
              </a:ext>
            </a:extLst>
          </p:cNvPr>
          <p:cNvSpPr txBox="1"/>
          <p:nvPr/>
        </p:nvSpPr>
        <p:spPr>
          <a:xfrm>
            <a:off x="240406" y="2189409"/>
            <a:ext cx="4597758" cy="2677656"/>
          </a:xfrm>
          <a:prstGeom prst="rect">
            <a:avLst/>
          </a:prstGeom>
          <a:noFill/>
        </p:spPr>
        <p:txBody>
          <a:bodyPr wrap="square" rtlCol="0">
            <a:spAutoFit/>
          </a:bodyPr>
          <a:lstStyle/>
          <a:p>
            <a:endParaRPr lang="en-GB" sz="2400" b="1" dirty="0">
              <a:latin typeface="Poppins" panose="00000500000000000000" pitchFamily="2" charset="0"/>
              <a:ea typeface="Lato Light" panose="020F0502020204030203" pitchFamily="34" charset="0"/>
              <a:cs typeface="Poppins" panose="00000500000000000000" pitchFamily="2" charset="0"/>
            </a:endParaRPr>
          </a:p>
          <a:p>
            <a:endParaRPr lang="en-GB" sz="2400" b="1" dirty="0">
              <a:latin typeface="Poppins" panose="00000500000000000000" pitchFamily="2" charset="0"/>
              <a:ea typeface="Lato Light" panose="020F0502020204030203" pitchFamily="34" charset="0"/>
              <a:cs typeface="Poppins" panose="00000500000000000000" pitchFamily="2" charset="0"/>
            </a:endParaRPr>
          </a:p>
          <a:p>
            <a:r>
              <a:rPr lang="en-GB" sz="2400" b="1" dirty="0">
                <a:latin typeface="Poppins" panose="00000500000000000000" pitchFamily="2" charset="0"/>
                <a:ea typeface="Lato Light" panose="020F0502020204030203" pitchFamily="34" charset="0"/>
                <a:cs typeface="Poppins" panose="00000500000000000000" pitchFamily="2" charset="0"/>
              </a:rPr>
              <a:t>Brand marketing talks to people , Trade Marketing talks with them. </a:t>
            </a:r>
          </a:p>
          <a:p>
            <a:endParaRPr lang="en-GB" sz="2400" b="1" dirty="0">
              <a:latin typeface="Poppins" panose="00000500000000000000" pitchFamily="2" charset="0"/>
              <a:ea typeface="Lato Light" panose="020F0502020204030203" pitchFamily="34" charset="0"/>
              <a:cs typeface="Poppins" panose="00000500000000000000" pitchFamily="2" charset="0"/>
            </a:endParaRPr>
          </a:p>
          <a:p>
            <a:endParaRPr lang="en-GB" sz="2400" b="1" dirty="0">
              <a:latin typeface="Poppins" panose="00000500000000000000" pitchFamily="2" charset="0"/>
              <a:ea typeface="Lato Light" panose="020F0502020204030203" pitchFamily="34" charset="0"/>
              <a:cs typeface="Poppins" panose="00000500000000000000" pitchFamily="2" charset="0"/>
            </a:endParaRPr>
          </a:p>
        </p:txBody>
      </p:sp>
      <p:pic>
        <p:nvPicPr>
          <p:cNvPr id="2052" name="Picture 4" descr="People with shopping carts. Vector silhouette set">
            <a:extLst>
              <a:ext uri="{FF2B5EF4-FFF2-40B4-BE49-F238E27FC236}">
                <a16:creationId xmlns:a16="http://schemas.microsoft.com/office/drawing/2014/main" id="{F1208C42-A498-BD3D-64AE-E29A56F4ECD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19413" y="2760190"/>
            <a:ext cx="7672587" cy="1534517"/>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8EE45327-C45E-148B-9C4E-FAED99054E87}"/>
              </a:ext>
            </a:extLst>
          </p:cNvPr>
          <p:cNvGrpSpPr/>
          <p:nvPr/>
        </p:nvGrpSpPr>
        <p:grpSpPr>
          <a:xfrm>
            <a:off x="2222771" y="2293604"/>
            <a:ext cx="914400" cy="914400"/>
            <a:chOff x="2222771" y="2293604"/>
            <a:chExt cx="914400" cy="914400"/>
          </a:xfrm>
        </p:grpSpPr>
        <p:pic>
          <p:nvPicPr>
            <p:cNvPr id="7" name="Graphic 6" descr="Cloud outline">
              <a:extLst>
                <a:ext uri="{FF2B5EF4-FFF2-40B4-BE49-F238E27FC236}">
                  <a16:creationId xmlns:a16="http://schemas.microsoft.com/office/drawing/2014/main" id="{C47BF161-0C2B-60F1-C624-26D08912E23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222771" y="2293604"/>
              <a:ext cx="914400" cy="914400"/>
            </a:xfrm>
            <a:prstGeom prst="rect">
              <a:avLst/>
            </a:prstGeom>
          </p:spPr>
        </p:pic>
        <p:sp>
          <p:nvSpPr>
            <p:cNvPr id="10" name="TextBox 9">
              <a:extLst>
                <a:ext uri="{FF2B5EF4-FFF2-40B4-BE49-F238E27FC236}">
                  <a16:creationId xmlns:a16="http://schemas.microsoft.com/office/drawing/2014/main" id="{705E3B21-8E18-5593-C724-22DE739E268B}"/>
                </a:ext>
              </a:extLst>
            </p:cNvPr>
            <p:cNvSpPr txBox="1"/>
            <p:nvPr/>
          </p:nvSpPr>
          <p:spPr>
            <a:xfrm>
              <a:off x="2352542" y="2622997"/>
              <a:ext cx="742682" cy="369332"/>
            </a:xfrm>
            <a:prstGeom prst="rect">
              <a:avLst/>
            </a:prstGeom>
            <a:noFill/>
          </p:spPr>
          <p:txBody>
            <a:bodyPr wrap="square" rtlCol="0">
              <a:spAutoFit/>
            </a:bodyPr>
            <a:lstStyle/>
            <a:p>
              <a:r>
                <a:rPr lang="en-GB" b="1" dirty="0">
                  <a:latin typeface="Poppins" panose="00000500000000000000" pitchFamily="2" charset="0"/>
                  <a:cs typeface="Poppins" panose="00000500000000000000" pitchFamily="2" charset="0"/>
                </a:rPr>
                <a:t>POS</a:t>
              </a:r>
            </a:p>
          </p:txBody>
        </p:sp>
      </p:grpSp>
      <p:grpSp>
        <p:nvGrpSpPr>
          <p:cNvPr id="24" name="Group 23">
            <a:extLst>
              <a:ext uri="{FF2B5EF4-FFF2-40B4-BE49-F238E27FC236}">
                <a16:creationId xmlns:a16="http://schemas.microsoft.com/office/drawing/2014/main" id="{D822C470-4BC2-F268-83A5-2D472C686655}"/>
              </a:ext>
            </a:extLst>
          </p:cNvPr>
          <p:cNvGrpSpPr/>
          <p:nvPr/>
        </p:nvGrpSpPr>
        <p:grpSpPr>
          <a:xfrm>
            <a:off x="3130731" y="1760295"/>
            <a:ext cx="1462734" cy="1462734"/>
            <a:chOff x="3130731" y="1760295"/>
            <a:chExt cx="1462734" cy="1462734"/>
          </a:xfrm>
        </p:grpSpPr>
        <p:pic>
          <p:nvPicPr>
            <p:cNvPr id="14" name="Graphic 13" descr="Cloud outline">
              <a:extLst>
                <a:ext uri="{FF2B5EF4-FFF2-40B4-BE49-F238E27FC236}">
                  <a16:creationId xmlns:a16="http://schemas.microsoft.com/office/drawing/2014/main" id="{E9E8DC02-786B-A328-CB0C-28D8585AB7B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130731" y="1760295"/>
              <a:ext cx="1462734" cy="1462734"/>
            </a:xfrm>
            <a:prstGeom prst="rect">
              <a:avLst/>
            </a:prstGeom>
          </p:spPr>
        </p:pic>
        <p:sp>
          <p:nvSpPr>
            <p:cNvPr id="18" name="TextBox 17">
              <a:extLst>
                <a:ext uri="{FF2B5EF4-FFF2-40B4-BE49-F238E27FC236}">
                  <a16:creationId xmlns:a16="http://schemas.microsoft.com/office/drawing/2014/main" id="{AC280243-8622-F6B9-1556-1E3908EE9A19}"/>
                </a:ext>
              </a:extLst>
            </p:cNvPr>
            <p:cNvSpPr txBox="1"/>
            <p:nvPr/>
          </p:nvSpPr>
          <p:spPr>
            <a:xfrm>
              <a:off x="3221865" y="2449132"/>
              <a:ext cx="1328669" cy="369332"/>
            </a:xfrm>
            <a:prstGeom prst="rect">
              <a:avLst/>
            </a:prstGeom>
            <a:noFill/>
          </p:spPr>
          <p:txBody>
            <a:bodyPr wrap="square" rtlCol="0">
              <a:spAutoFit/>
            </a:bodyPr>
            <a:lstStyle/>
            <a:p>
              <a:r>
                <a:rPr lang="en-GB" b="1" dirty="0">
                  <a:latin typeface="Poppins" panose="00000500000000000000" pitchFamily="2" charset="0"/>
                  <a:cs typeface="Poppins" panose="00000500000000000000" pitchFamily="2" charset="0"/>
                </a:rPr>
                <a:t>Category</a:t>
              </a:r>
            </a:p>
          </p:txBody>
        </p:sp>
      </p:grpSp>
      <p:grpSp>
        <p:nvGrpSpPr>
          <p:cNvPr id="25" name="Group 24">
            <a:extLst>
              <a:ext uri="{FF2B5EF4-FFF2-40B4-BE49-F238E27FC236}">
                <a16:creationId xmlns:a16="http://schemas.microsoft.com/office/drawing/2014/main" id="{C10973C0-4252-9BF1-3A82-8D89F499A04C}"/>
              </a:ext>
            </a:extLst>
          </p:cNvPr>
          <p:cNvGrpSpPr/>
          <p:nvPr/>
        </p:nvGrpSpPr>
        <p:grpSpPr>
          <a:xfrm>
            <a:off x="3341549" y="4044531"/>
            <a:ext cx="1679768" cy="1051674"/>
            <a:chOff x="2817346" y="4244753"/>
            <a:chExt cx="1543269" cy="914400"/>
          </a:xfrm>
        </p:grpSpPr>
        <p:pic>
          <p:nvPicPr>
            <p:cNvPr id="15" name="Graphic 14" descr="Cloud outline">
              <a:extLst>
                <a:ext uri="{FF2B5EF4-FFF2-40B4-BE49-F238E27FC236}">
                  <a16:creationId xmlns:a16="http://schemas.microsoft.com/office/drawing/2014/main" id="{7F9D9C2D-FF63-6C09-268F-10E5A653851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17346" y="4244753"/>
              <a:ext cx="914400" cy="914400"/>
            </a:xfrm>
            <a:prstGeom prst="rect">
              <a:avLst/>
            </a:prstGeom>
          </p:spPr>
        </p:pic>
        <p:sp>
          <p:nvSpPr>
            <p:cNvPr id="19" name="TextBox 18">
              <a:extLst>
                <a:ext uri="{FF2B5EF4-FFF2-40B4-BE49-F238E27FC236}">
                  <a16:creationId xmlns:a16="http://schemas.microsoft.com/office/drawing/2014/main" id="{7B3CF8FA-E5F1-5EA9-B47C-365637865AE7}"/>
                </a:ext>
              </a:extLst>
            </p:cNvPr>
            <p:cNvSpPr txBox="1"/>
            <p:nvPr/>
          </p:nvSpPr>
          <p:spPr>
            <a:xfrm>
              <a:off x="3031946" y="4600613"/>
              <a:ext cx="1328669" cy="369332"/>
            </a:xfrm>
            <a:prstGeom prst="rect">
              <a:avLst/>
            </a:prstGeom>
            <a:noFill/>
          </p:spPr>
          <p:txBody>
            <a:bodyPr wrap="square" rtlCol="0">
              <a:spAutoFit/>
            </a:bodyPr>
            <a:lstStyle/>
            <a:p>
              <a:r>
                <a:rPr lang="en-GB" b="1" dirty="0">
                  <a:latin typeface="Poppins" panose="00000500000000000000" pitchFamily="2" charset="0"/>
                  <a:cs typeface="Poppins" panose="00000500000000000000" pitchFamily="2" charset="0"/>
                </a:rPr>
                <a:t>ROI</a:t>
              </a:r>
            </a:p>
          </p:txBody>
        </p:sp>
      </p:grpSp>
      <p:grpSp>
        <p:nvGrpSpPr>
          <p:cNvPr id="26" name="Group 25">
            <a:extLst>
              <a:ext uri="{FF2B5EF4-FFF2-40B4-BE49-F238E27FC236}">
                <a16:creationId xmlns:a16="http://schemas.microsoft.com/office/drawing/2014/main" id="{4271DE4A-5158-127F-B262-A5B60494B106}"/>
              </a:ext>
            </a:extLst>
          </p:cNvPr>
          <p:cNvGrpSpPr/>
          <p:nvPr/>
        </p:nvGrpSpPr>
        <p:grpSpPr>
          <a:xfrm>
            <a:off x="2112579" y="3725898"/>
            <a:ext cx="1542486" cy="1340513"/>
            <a:chOff x="1635672" y="3552477"/>
            <a:chExt cx="1542486" cy="1340513"/>
          </a:xfrm>
        </p:grpSpPr>
        <p:pic>
          <p:nvPicPr>
            <p:cNvPr id="13" name="Graphic 12" descr="Cloud outline">
              <a:extLst>
                <a:ext uri="{FF2B5EF4-FFF2-40B4-BE49-F238E27FC236}">
                  <a16:creationId xmlns:a16="http://schemas.microsoft.com/office/drawing/2014/main" id="{7BBE300B-7CD9-4C16-B6BE-1812DD27F9A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635672" y="3552477"/>
              <a:ext cx="1340513" cy="1340513"/>
            </a:xfrm>
            <a:prstGeom prst="rect">
              <a:avLst/>
            </a:prstGeom>
          </p:spPr>
        </p:pic>
        <p:sp>
          <p:nvSpPr>
            <p:cNvPr id="21" name="TextBox 20">
              <a:extLst>
                <a:ext uri="{FF2B5EF4-FFF2-40B4-BE49-F238E27FC236}">
                  <a16:creationId xmlns:a16="http://schemas.microsoft.com/office/drawing/2014/main" id="{EDE7CE4F-BCAC-F629-CCD5-3C20855B3259}"/>
                </a:ext>
              </a:extLst>
            </p:cNvPr>
            <p:cNvSpPr txBox="1"/>
            <p:nvPr/>
          </p:nvSpPr>
          <p:spPr>
            <a:xfrm>
              <a:off x="1733578" y="4199530"/>
              <a:ext cx="1444580" cy="307777"/>
            </a:xfrm>
            <a:prstGeom prst="rect">
              <a:avLst/>
            </a:prstGeom>
            <a:noFill/>
          </p:spPr>
          <p:txBody>
            <a:bodyPr wrap="square" rtlCol="0">
              <a:spAutoFit/>
            </a:bodyPr>
            <a:lstStyle/>
            <a:p>
              <a:r>
                <a:rPr lang="en-GB" sz="1400" b="1" dirty="0">
                  <a:latin typeface="Poppins" panose="00000500000000000000" pitchFamily="2" charset="0"/>
                  <a:cs typeface="Poppins" panose="00000500000000000000" pitchFamily="2" charset="0"/>
                </a:rPr>
                <a:t>Consumer </a:t>
              </a:r>
            </a:p>
          </p:txBody>
        </p:sp>
      </p:grpSp>
      <p:grpSp>
        <p:nvGrpSpPr>
          <p:cNvPr id="27" name="Group 26">
            <a:extLst>
              <a:ext uri="{FF2B5EF4-FFF2-40B4-BE49-F238E27FC236}">
                <a16:creationId xmlns:a16="http://schemas.microsoft.com/office/drawing/2014/main" id="{9B5038B3-A700-9F88-7693-EBE90F290EEE}"/>
              </a:ext>
            </a:extLst>
          </p:cNvPr>
          <p:cNvGrpSpPr/>
          <p:nvPr/>
        </p:nvGrpSpPr>
        <p:grpSpPr>
          <a:xfrm>
            <a:off x="2953536" y="3421117"/>
            <a:ext cx="1618557" cy="1069870"/>
            <a:chOff x="2791939" y="3547242"/>
            <a:chExt cx="1618557" cy="1069870"/>
          </a:xfrm>
        </p:grpSpPr>
        <p:pic>
          <p:nvPicPr>
            <p:cNvPr id="12" name="Graphic 11" descr="Cloud outline">
              <a:extLst>
                <a:ext uri="{FF2B5EF4-FFF2-40B4-BE49-F238E27FC236}">
                  <a16:creationId xmlns:a16="http://schemas.microsoft.com/office/drawing/2014/main" id="{3B96DC59-524A-87C6-AB44-01BB5E86908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791939" y="3547242"/>
              <a:ext cx="1543167" cy="1069870"/>
            </a:xfrm>
            <a:prstGeom prst="rect">
              <a:avLst/>
            </a:prstGeom>
          </p:spPr>
        </p:pic>
        <p:sp>
          <p:nvSpPr>
            <p:cNvPr id="22" name="TextBox 21">
              <a:extLst>
                <a:ext uri="{FF2B5EF4-FFF2-40B4-BE49-F238E27FC236}">
                  <a16:creationId xmlns:a16="http://schemas.microsoft.com/office/drawing/2014/main" id="{C0931F5F-89D4-243C-4E97-34E642D403D7}"/>
                </a:ext>
              </a:extLst>
            </p:cNvPr>
            <p:cNvSpPr txBox="1"/>
            <p:nvPr/>
          </p:nvSpPr>
          <p:spPr>
            <a:xfrm>
              <a:off x="2965916" y="4009031"/>
              <a:ext cx="1444580" cy="369332"/>
            </a:xfrm>
            <a:prstGeom prst="rect">
              <a:avLst/>
            </a:prstGeom>
            <a:noFill/>
          </p:spPr>
          <p:txBody>
            <a:bodyPr wrap="square" rtlCol="0">
              <a:spAutoFit/>
            </a:bodyPr>
            <a:lstStyle/>
            <a:p>
              <a:r>
                <a:rPr lang="en-GB" b="1" dirty="0">
                  <a:latin typeface="Poppins" panose="00000500000000000000" pitchFamily="2" charset="0"/>
                  <a:cs typeface="Poppins" panose="00000500000000000000" pitchFamily="2" charset="0"/>
                </a:rPr>
                <a:t>Retailer </a:t>
              </a:r>
            </a:p>
          </p:txBody>
        </p:sp>
      </p:grpSp>
      <p:grpSp>
        <p:nvGrpSpPr>
          <p:cNvPr id="11" name="Group 10">
            <a:extLst>
              <a:ext uri="{FF2B5EF4-FFF2-40B4-BE49-F238E27FC236}">
                <a16:creationId xmlns:a16="http://schemas.microsoft.com/office/drawing/2014/main" id="{0A3863DF-6503-D3FB-3284-3C44E44FAD69}"/>
              </a:ext>
            </a:extLst>
          </p:cNvPr>
          <p:cNvGrpSpPr/>
          <p:nvPr/>
        </p:nvGrpSpPr>
        <p:grpSpPr>
          <a:xfrm>
            <a:off x="1093186" y="4023851"/>
            <a:ext cx="1626365" cy="1330762"/>
            <a:chOff x="1108952" y="4540172"/>
            <a:chExt cx="1626365" cy="1330762"/>
          </a:xfrm>
        </p:grpSpPr>
        <p:pic>
          <p:nvPicPr>
            <p:cNvPr id="16" name="Graphic 15" descr="Cloud outline">
              <a:extLst>
                <a:ext uri="{FF2B5EF4-FFF2-40B4-BE49-F238E27FC236}">
                  <a16:creationId xmlns:a16="http://schemas.microsoft.com/office/drawing/2014/main" id="{16A63562-A90A-F489-CDA6-36D40F5227B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08952" y="4540172"/>
              <a:ext cx="1330762" cy="1330762"/>
            </a:xfrm>
            <a:prstGeom prst="rect">
              <a:avLst/>
            </a:prstGeom>
          </p:spPr>
        </p:pic>
        <p:sp>
          <p:nvSpPr>
            <p:cNvPr id="23" name="TextBox 22">
              <a:extLst>
                <a:ext uri="{FF2B5EF4-FFF2-40B4-BE49-F238E27FC236}">
                  <a16:creationId xmlns:a16="http://schemas.microsoft.com/office/drawing/2014/main" id="{83669B6B-DB96-22E7-1B0D-1905B957051F}"/>
                </a:ext>
              </a:extLst>
            </p:cNvPr>
            <p:cNvSpPr txBox="1"/>
            <p:nvPr/>
          </p:nvSpPr>
          <p:spPr>
            <a:xfrm>
              <a:off x="1163392" y="5205896"/>
              <a:ext cx="1571925" cy="307777"/>
            </a:xfrm>
            <a:prstGeom prst="rect">
              <a:avLst/>
            </a:prstGeom>
            <a:noFill/>
          </p:spPr>
          <p:txBody>
            <a:bodyPr wrap="square" rtlCol="0">
              <a:spAutoFit/>
            </a:bodyPr>
            <a:lstStyle/>
            <a:p>
              <a:r>
                <a:rPr lang="en-GB" sz="1400" b="1" dirty="0">
                  <a:latin typeface="Poppins" panose="00000500000000000000" pitchFamily="2" charset="0"/>
                  <a:cs typeface="Poppins" panose="00000500000000000000" pitchFamily="2" charset="0"/>
                </a:rPr>
                <a:t>Promotions </a:t>
              </a:r>
            </a:p>
          </p:txBody>
        </p:sp>
      </p:grpSp>
    </p:spTree>
    <p:extLst>
      <p:ext uri="{BB962C8B-B14F-4D97-AF65-F5344CB8AC3E}">
        <p14:creationId xmlns:p14="http://schemas.microsoft.com/office/powerpoint/2010/main" val="27087196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B658207-89C0-AA82-9C27-6BAA846E1DF5}"/>
              </a:ext>
            </a:extLst>
          </p:cNvPr>
          <p:cNvSpPr txBox="1"/>
          <p:nvPr/>
        </p:nvSpPr>
        <p:spPr>
          <a:xfrm>
            <a:off x="268941" y="207845"/>
            <a:ext cx="7951327" cy="746423"/>
          </a:xfrm>
          <a:prstGeom prst="rect">
            <a:avLst/>
          </a:prstGeom>
          <a:noFill/>
          <a:ln>
            <a:noFill/>
          </a:ln>
        </p:spPr>
        <p:txBody>
          <a:bodyPr wrap="square" rtlCol="0">
            <a:spAutoFit/>
          </a:bodyPr>
          <a:lstStyle/>
          <a:p>
            <a:pPr defTabSz="435356">
              <a:defRPr/>
            </a:pPr>
            <a:r>
              <a:rPr lang="en-GB" sz="2800" b="1" dirty="0">
                <a:solidFill>
                  <a:srgbClr val="2A4A8B"/>
                </a:solidFill>
                <a:latin typeface="Poppins" panose="00000500000000000000" pitchFamily="2" charset="0"/>
                <a:cs typeface="Poppins" panose="00000500000000000000" pitchFamily="2" charset="0"/>
              </a:rPr>
              <a:t>Trade Marketing  </a:t>
            </a:r>
            <a:endParaRPr lang="en-GB" sz="3200" b="1" dirty="0">
              <a:solidFill>
                <a:srgbClr val="2A4A8B"/>
              </a:solidFill>
              <a:latin typeface="Poppins" panose="00000500000000000000" pitchFamily="2" charset="0"/>
              <a:cs typeface="Poppins" panose="00000500000000000000" pitchFamily="2" charset="0"/>
            </a:endParaRPr>
          </a:p>
          <a:p>
            <a:pPr>
              <a:lnSpc>
                <a:spcPct val="107000"/>
              </a:lnSpc>
              <a:spcAft>
                <a:spcPts val="800"/>
              </a:spcAft>
            </a:pPr>
            <a:r>
              <a:rPr lang="en-GB" sz="1400" dirty="0">
                <a:effectLst/>
                <a:latin typeface="Poppins" panose="00000500000000000000" pitchFamily="2" charset="0"/>
                <a:ea typeface="Lato Light" panose="020F0502020204030203" pitchFamily="34" charset="0"/>
                <a:cs typeface="Poppins" panose="00000500000000000000" pitchFamily="2" charset="0"/>
              </a:rPr>
              <a:t>Building a Trade Marketing Plan everybody can follow .</a:t>
            </a:r>
          </a:p>
        </p:txBody>
      </p:sp>
      <p:pic>
        <p:nvPicPr>
          <p:cNvPr id="3" name="Picture 2" descr="Logo&#10;&#10;Description automatically generated">
            <a:extLst>
              <a:ext uri="{FF2B5EF4-FFF2-40B4-BE49-F238E27FC236}">
                <a16:creationId xmlns:a16="http://schemas.microsoft.com/office/drawing/2014/main" id="{7F0E6A39-C17F-7898-836B-CC64830BB2D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4" name="Footer Placeholder 3">
            <a:extLst>
              <a:ext uri="{FF2B5EF4-FFF2-40B4-BE49-F238E27FC236}">
                <a16:creationId xmlns:a16="http://schemas.microsoft.com/office/drawing/2014/main" id="{36164152-CBE0-D7F3-56DB-7C42442C0651}"/>
              </a:ext>
            </a:extLst>
          </p:cNvPr>
          <p:cNvSpPr>
            <a:spLocks noGrp="1"/>
          </p:cNvSpPr>
          <p:nvPr>
            <p:ph type="ftr" sz="quarter" idx="11"/>
          </p:nvPr>
        </p:nvSpPr>
        <p:spPr>
          <a:xfrm>
            <a:off x="4038600" y="6356350"/>
            <a:ext cx="4114800" cy="365125"/>
          </a:xfrm>
        </p:spPr>
        <p:txBody>
          <a:bodyPr/>
          <a:lstStyle/>
          <a:p>
            <a:r>
              <a:rPr lang="en-GB" dirty="0"/>
              <a:t>www.upskilpro.com</a:t>
            </a:r>
          </a:p>
        </p:txBody>
      </p:sp>
      <p:sp>
        <p:nvSpPr>
          <p:cNvPr id="5" name="TextBox 4">
            <a:extLst>
              <a:ext uri="{FF2B5EF4-FFF2-40B4-BE49-F238E27FC236}">
                <a16:creationId xmlns:a16="http://schemas.microsoft.com/office/drawing/2014/main" id="{9AA66C7C-C9F3-99B8-100E-9AC38C82664A}"/>
              </a:ext>
            </a:extLst>
          </p:cNvPr>
          <p:cNvSpPr txBox="1"/>
          <p:nvPr/>
        </p:nvSpPr>
        <p:spPr>
          <a:xfrm>
            <a:off x="712478" y="1527410"/>
            <a:ext cx="5256522" cy="1631216"/>
          </a:xfrm>
          <a:prstGeom prst="rect">
            <a:avLst/>
          </a:prstGeom>
          <a:noFill/>
        </p:spPr>
        <p:txBody>
          <a:bodyPr wrap="square" rtlCol="0">
            <a:spAutoFit/>
          </a:bodyPr>
          <a:lstStyle/>
          <a:p>
            <a:r>
              <a:rPr lang="en-GB" sz="1000" dirty="0">
                <a:latin typeface="Lato Light" panose="020F0502020204030203" pitchFamily="34" charset="0"/>
                <a:ea typeface="Lato Light" panose="020F0502020204030203" pitchFamily="34" charset="0"/>
                <a:cs typeface="Lato Light" panose="020F0502020204030203" pitchFamily="34" charset="0"/>
              </a:rPr>
              <a:t>Start with a deep dive business review which includes brand levels and review every area surrounding the brand.</a:t>
            </a:r>
          </a:p>
          <a:p>
            <a:pPr marL="285750" indent="-285750">
              <a:buFont typeface="Arial" panose="020B0604020202020204" pitchFamily="34" charset="0"/>
              <a:buChar char="•"/>
            </a:pPr>
            <a:r>
              <a:rPr lang="en-GB" sz="1000" dirty="0">
                <a:latin typeface="Lato Light" panose="020F0502020204030203" pitchFamily="34" charset="0"/>
                <a:ea typeface="Lato Light" panose="020F0502020204030203" pitchFamily="34" charset="0"/>
                <a:cs typeface="Lato Light" panose="020F0502020204030203" pitchFamily="34" charset="0"/>
              </a:rPr>
              <a:t>Market : Macro view economic indicators , consumer behaviour , technology and political trends regarding the category .</a:t>
            </a:r>
          </a:p>
          <a:p>
            <a:pPr marL="285750" indent="-285750">
              <a:buFont typeface="Arial" panose="020B0604020202020204" pitchFamily="34" charset="0"/>
              <a:buChar char="•"/>
            </a:pPr>
            <a:r>
              <a:rPr lang="en-GB" sz="1000" dirty="0">
                <a:latin typeface="Lato Light" panose="020F0502020204030203" pitchFamily="34" charset="0"/>
                <a:ea typeface="Lato Light" panose="020F0502020204030203" pitchFamily="34" charset="0"/>
                <a:cs typeface="Lato Light" panose="020F0502020204030203" pitchFamily="34" charset="0"/>
              </a:rPr>
              <a:t>Consumer : Target buying habits , trends , consumer enemies , key insights</a:t>
            </a:r>
          </a:p>
          <a:p>
            <a:pPr marL="285750" indent="-285750">
              <a:buFont typeface="Arial" panose="020B0604020202020204" pitchFamily="34" charset="0"/>
              <a:buChar char="•"/>
            </a:pPr>
            <a:r>
              <a:rPr lang="en-GB" sz="1000" dirty="0">
                <a:latin typeface="Lato Light" panose="020F0502020204030203" pitchFamily="34" charset="0"/>
                <a:ea typeface="Lato Light" panose="020F0502020204030203" pitchFamily="34" charset="0"/>
                <a:cs typeface="Lato Light" panose="020F0502020204030203" pitchFamily="34" charset="0"/>
              </a:rPr>
              <a:t>Channels : Growth channels ,major customers , available tools and key programs </a:t>
            </a:r>
          </a:p>
          <a:p>
            <a:pPr marL="285750" indent="-285750">
              <a:buFont typeface="Arial" panose="020B0604020202020204" pitchFamily="34" charset="0"/>
              <a:buChar char="•"/>
            </a:pPr>
            <a:r>
              <a:rPr lang="en-GB" sz="1000" dirty="0">
                <a:latin typeface="Lato Light" panose="020F0502020204030203" pitchFamily="34" charset="0"/>
                <a:ea typeface="Lato Light" panose="020F0502020204030203" pitchFamily="34" charset="0"/>
                <a:cs typeface="Lato Light" panose="020F0502020204030203" pitchFamily="34" charset="0"/>
              </a:rPr>
              <a:t>Competitors: Performance , positioning , innovation , pricing , and distribution</a:t>
            </a:r>
          </a:p>
          <a:p>
            <a:pPr marL="285750" indent="-285750">
              <a:buFont typeface="Arial" panose="020B0604020202020204" pitchFamily="34" charset="0"/>
              <a:buChar char="•"/>
            </a:pPr>
            <a:r>
              <a:rPr lang="en-GB" sz="1000" dirty="0">
                <a:latin typeface="Lato Light" panose="020F0502020204030203" pitchFamily="34" charset="0"/>
                <a:ea typeface="Lato Light" panose="020F0502020204030203" pitchFamily="34" charset="0"/>
                <a:cs typeface="Lato Light" panose="020F0502020204030203" pitchFamily="34" charset="0"/>
              </a:rPr>
              <a:t>Brand : Funnel , results , pricing , distribution , and basic financial analysis  </a:t>
            </a:r>
          </a:p>
          <a:p>
            <a:pPr marL="285750" indent="-285750">
              <a:buFont typeface="Arial" panose="020B0604020202020204" pitchFamily="34" charset="0"/>
              <a:buChar char="•"/>
            </a:pPr>
            <a:endParaRPr lang="en-GB" sz="1000" dirty="0">
              <a:latin typeface="Lato Light" panose="020F0502020204030203" pitchFamily="34" charset="0"/>
              <a:ea typeface="Lato Light" panose="020F0502020204030203" pitchFamily="34" charset="0"/>
              <a:cs typeface="Lato Light" panose="020F0502020204030203" pitchFamily="34" charset="0"/>
            </a:endParaRPr>
          </a:p>
          <a:p>
            <a:pPr marL="285750" indent="-285750">
              <a:buFont typeface="Arial" panose="020B0604020202020204" pitchFamily="34" charset="0"/>
              <a:buChar char="•"/>
            </a:pPr>
            <a:endParaRPr lang="en-GB" sz="1000" dirty="0">
              <a:latin typeface="Lato Light" panose="020F0502020204030203" pitchFamily="34" charset="0"/>
              <a:ea typeface="Lato Light" panose="020F0502020204030203" pitchFamily="34" charset="0"/>
              <a:cs typeface="Lato Light" panose="020F0502020204030203" pitchFamily="34" charset="0"/>
            </a:endParaRPr>
          </a:p>
        </p:txBody>
      </p:sp>
      <p:grpSp>
        <p:nvGrpSpPr>
          <p:cNvPr id="23" name="Group 22">
            <a:extLst>
              <a:ext uri="{FF2B5EF4-FFF2-40B4-BE49-F238E27FC236}">
                <a16:creationId xmlns:a16="http://schemas.microsoft.com/office/drawing/2014/main" id="{DD2FD732-D001-304C-517D-6E346AEE0F66}"/>
              </a:ext>
            </a:extLst>
          </p:cNvPr>
          <p:cNvGrpSpPr/>
          <p:nvPr/>
        </p:nvGrpSpPr>
        <p:grpSpPr>
          <a:xfrm>
            <a:off x="2933559" y="3431022"/>
            <a:ext cx="3037352" cy="2496630"/>
            <a:chOff x="5047891" y="1613022"/>
            <a:chExt cx="3037352" cy="2496630"/>
          </a:xfrm>
        </p:grpSpPr>
        <p:sp>
          <p:nvSpPr>
            <p:cNvPr id="12" name="Rectangle 11">
              <a:extLst>
                <a:ext uri="{FF2B5EF4-FFF2-40B4-BE49-F238E27FC236}">
                  <a16:creationId xmlns:a16="http://schemas.microsoft.com/office/drawing/2014/main" id="{839F399B-3C92-8184-20BD-D1350A2AA35F}"/>
                </a:ext>
              </a:extLst>
            </p:cNvPr>
            <p:cNvSpPr/>
            <p:nvPr/>
          </p:nvSpPr>
          <p:spPr>
            <a:xfrm>
              <a:off x="6597386" y="3114386"/>
              <a:ext cx="1474237" cy="270588"/>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latin typeface="Lato Light" panose="020F0502020204030203" pitchFamily="34" charset="0"/>
                  <a:ea typeface="Lato Light" panose="020F0502020204030203" pitchFamily="34" charset="0"/>
                  <a:cs typeface="Lato Light" panose="020F0502020204030203" pitchFamily="34" charset="0"/>
                </a:rPr>
                <a:t>Threats </a:t>
              </a:r>
            </a:p>
          </p:txBody>
        </p:sp>
        <p:grpSp>
          <p:nvGrpSpPr>
            <p:cNvPr id="21" name="Group 20">
              <a:extLst>
                <a:ext uri="{FF2B5EF4-FFF2-40B4-BE49-F238E27FC236}">
                  <a16:creationId xmlns:a16="http://schemas.microsoft.com/office/drawing/2014/main" id="{61EBCD89-68D4-9313-8EDB-51233BDFEAA8}"/>
                </a:ext>
              </a:extLst>
            </p:cNvPr>
            <p:cNvGrpSpPr/>
            <p:nvPr/>
          </p:nvGrpSpPr>
          <p:grpSpPr>
            <a:xfrm>
              <a:off x="5047891" y="1613022"/>
              <a:ext cx="3037352" cy="2496630"/>
              <a:chOff x="4974319" y="1686595"/>
              <a:chExt cx="3037352" cy="2496630"/>
            </a:xfrm>
          </p:grpSpPr>
          <p:sp>
            <p:nvSpPr>
              <p:cNvPr id="6" name="TextBox 5">
                <a:extLst>
                  <a:ext uri="{FF2B5EF4-FFF2-40B4-BE49-F238E27FC236}">
                    <a16:creationId xmlns:a16="http://schemas.microsoft.com/office/drawing/2014/main" id="{57CBAD30-095D-6C8A-CAFF-F32737AC8534}"/>
                  </a:ext>
                </a:extLst>
              </p:cNvPr>
              <p:cNvSpPr txBox="1"/>
              <p:nvPr/>
            </p:nvSpPr>
            <p:spPr>
              <a:xfrm>
                <a:off x="4974319" y="1686595"/>
                <a:ext cx="2871216" cy="400110"/>
              </a:xfrm>
              <a:prstGeom prst="rect">
                <a:avLst/>
              </a:prstGeom>
              <a:noFill/>
            </p:spPr>
            <p:txBody>
              <a:bodyPr wrap="square" rtlCol="0">
                <a:spAutoFit/>
              </a:bodyPr>
              <a:lstStyle/>
              <a:p>
                <a:r>
                  <a:rPr lang="en-GB" sz="1000" dirty="0">
                    <a:latin typeface="Lato Light" panose="020F0502020204030203" pitchFamily="34" charset="0"/>
                    <a:ea typeface="Lato Light" panose="020F0502020204030203" pitchFamily="34" charset="0"/>
                    <a:cs typeface="Lato Light" panose="020F0502020204030203" pitchFamily="34" charset="0"/>
                  </a:rPr>
                  <a:t>Summarize drivers and inhibitors currently that are brand facing and then opportunities </a:t>
                </a:r>
              </a:p>
            </p:txBody>
          </p:sp>
          <p:sp>
            <p:nvSpPr>
              <p:cNvPr id="7" name="Rectangle 6">
                <a:extLst>
                  <a:ext uri="{FF2B5EF4-FFF2-40B4-BE49-F238E27FC236}">
                    <a16:creationId xmlns:a16="http://schemas.microsoft.com/office/drawing/2014/main" id="{744443B4-B0C4-F465-CA5E-C00A061ABCDF}"/>
                  </a:ext>
                </a:extLst>
              </p:cNvPr>
              <p:cNvSpPr/>
              <p:nvPr/>
            </p:nvSpPr>
            <p:spPr>
              <a:xfrm>
                <a:off x="5035206" y="2164702"/>
                <a:ext cx="1474237" cy="270588"/>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latin typeface="Lato Light" panose="020F0502020204030203" pitchFamily="34" charset="0"/>
                    <a:ea typeface="Lato Light" panose="020F0502020204030203" pitchFamily="34" charset="0"/>
                    <a:cs typeface="Lato Light" panose="020F0502020204030203" pitchFamily="34" charset="0"/>
                  </a:rPr>
                  <a:t>Drivers </a:t>
                </a:r>
              </a:p>
            </p:txBody>
          </p:sp>
          <p:sp>
            <p:nvSpPr>
              <p:cNvPr id="8" name="Rectangle 7">
                <a:extLst>
                  <a:ext uri="{FF2B5EF4-FFF2-40B4-BE49-F238E27FC236}">
                    <a16:creationId xmlns:a16="http://schemas.microsoft.com/office/drawing/2014/main" id="{1D54C9D4-883B-9BC6-4E3C-965A95EFD153}"/>
                  </a:ext>
                </a:extLst>
              </p:cNvPr>
              <p:cNvSpPr/>
              <p:nvPr/>
            </p:nvSpPr>
            <p:spPr>
              <a:xfrm>
                <a:off x="6531214" y="2167812"/>
                <a:ext cx="1474237" cy="270588"/>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latin typeface="Lato Light" panose="020F0502020204030203" pitchFamily="34" charset="0"/>
                    <a:ea typeface="Lato Light" panose="020F0502020204030203" pitchFamily="34" charset="0"/>
                    <a:cs typeface="Lato Light" panose="020F0502020204030203" pitchFamily="34" charset="0"/>
                  </a:rPr>
                  <a:t>Inhibitors</a:t>
                </a:r>
              </a:p>
            </p:txBody>
          </p:sp>
          <p:sp>
            <p:nvSpPr>
              <p:cNvPr id="9" name="Rectangle 8">
                <a:extLst>
                  <a:ext uri="{FF2B5EF4-FFF2-40B4-BE49-F238E27FC236}">
                    <a16:creationId xmlns:a16="http://schemas.microsoft.com/office/drawing/2014/main" id="{EFE0B9AF-2CC2-DA0E-8F09-0884F3B01329}"/>
                  </a:ext>
                </a:extLst>
              </p:cNvPr>
              <p:cNvSpPr/>
              <p:nvPr/>
            </p:nvSpPr>
            <p:spPr>
              <a:xfrm>
                <a:off x="5038316" y="2466392"/>
                <a:ext cx="1474237" cy="6966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dirty="0">
                    <a:solidFill>
                      <a:schemeClr val="tx1">
                        <a:lumMod val="95000"/>
                        <a:lumOff val="5000"/>
                      </a:schemeClr>
                    </a:solidFill>
                    <a:latin typeface="Lato Light" panose="020F0502020204030203" pitchFamily="34" charset="0"/>
                    <a:ea typeface="Lato Light" panose="020F0502020204030203" pitchFamily="34" charset="0"/>
                    <a:cs typeface="Lato Light" panose="020F0502020204030203" pitchFamily="34" charset="0"/>
                  </a:rPr>
                  <a:t>Factors that hasten or slow your brand growth </a:t>
                </a:r>
              </a:p>
            </p:txBody>
          </p:sp>
          <p:sp>
            <p:nvSpPr>
              <p:cNvPr id="10" name="Rectangle 9">
                <a:extLst>
                  <a:ext uri="{FF2B5EF4-FFF2-40B4-BE49-F238E27FC236}">
                    <a16:creationId xmlns:a16="http://schemas.microsoft.com/office/drawing/2014/main" id="{B47F576F-094A-6352-1D14-6C0774A206BB}"/>
                  </a:ext>
                </a:extLst>
              </p:cNvPr>
              <p:cNvSpPr/>
              <p:nvPr/>
            </p:nvSpPr>
            <p:spPr>
              <a:xfrm>
                <a:off x="6534324" y="2460171"/>
                <a:ext cx="1474237" cy="6966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dirty="0">
                    <a:solidFill>
                      <a:schemeClr val="tx1">
                        <a:lumMod val="95000"/>
                        <a:lumOff val="5000"/>
                      </a:schemeClr>
                    </a:solidFill>
                    <a:latin typeface="Lato Light" panose="020F0502020204030203" pitchFamily="34" charset="0"/>
                    <a:ea typeface="Lato Light" panose="020F0502020204030203" pitchFamily="34" charset="0"/>
                    <a:cs typeface="Lato Light" panose="020F0502020204030203" pitchFamily="34" charset="0"/>
                  </a:rPr>
                  <a:t>Weaknesses that are directly brand facing </a:t>
                </a:r>
              </a:p>
            </p:txBody>
          </p:sp>
          <p:sp>
            <p:nvSpPr>
              <p:cNvPr id="11" name="Rectangle 10">
                <a:extLst>
                  <a:ext uri="{FF2B5EF4-FFF2-40B4-BE49-F238E27FC236}">
                    <a16:creationId xmlns:a16="http://schemas.microsoft.com/office/drawing/2014/main" id="{D93D0030-4B4C-CB6C-210C-E38ABF14B1A0}"/>
                  </a:ext>
                </a:extLst>
              </p:cNvPr>
              <p:cNvSpPr/>
              <p:nvPr/>
            </p:nvSpPr>
            <p:spPr>
              <a:xfrm>
                <a:off x="5038316" y="3184849"/>
                <a:ext cx="1474237" cy="270588"/>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latin typeface="Lato Light" panose="020F0502020204030203" pitchFamily="34" charset="0"/>
                    <a:ea typeface="Lato Light" panose="020F0502020204030203" pitchFamily="34" charset="0"/>
                    <a:cs typeface="Lato Light" panose="020F0502020204030203" pitchFamily="34" charset="0"/>
                  </a:rPr>
                  <a:t>Opportunities </a:t>
                </a:r>
              </a:p>
            </p:txBody>
          </p:sp>
          <p:sp>
            <p:nvSpPr>
              <p:cNvPr id="13" name="Rectangle 12">
                <a:extLst>
                  <a:ext uri="{FF2B5EF4-FFF2-40B4-BE49-F238E27FC236}">
                    <a16:creationId xmlns:a16="http://schemas.microsoft.com/office/drawing/2014/main" id="{730394FE-0E11-0705-D7E0-60DBBB25BBE6}"/>
                  </a:ext>
                </a:extLst>
              </p:cNvPr>
              <p:cNvSpPr/>
              <p:nvPr/>
            </p:nvSpPr>
            <p:spPr>
              <a:xfrm>
                <a:off x="5041426" y="3486539"/>
                <a:ext cx="1474237" cy="6966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dirty="0">
                    <a:solidFill>
                      <a:schemeClr val="tx1">
                        <a:lumMod val="95000"/>
                        <a:lumOff val="5000"/>
                      </a:schemeClr>
                    </a:solidFill>
                    <a:latin typeface="Lato Light" panose="020F0502020204030203" pitchFamily="34" charset="0"/>
                    <a:ea typeface="Lato Light" panose="020F0502020204030203" pitchFamily="34" charset="0"/>
                    <a:cs typeface="Lato Light" panose="020F0502020204030203" pitchFamily="34" charset="0"/>
                  </a:rPr>
                  <a:t>Stress on changing consumer needs , technologies , and channels </a:t>
                </a:r>
              </a:p>
            </p:txBody>
          </p:sp>
          <p:sp>
            <p:nvSpPr>
              <p:cNvPr id="14" name="Rectangle 13">
                <a:extLst>
                  <a:ext uri="{FF2B5EF4-FFF2-40B4-BE49-F238E27FC236}">
                    <a16:creationId xmlns:a16="http://schemas.microsoft.com/office/drawing/2014/main" id="{917C9F9A-B1E1-17B9-5AA9-724CDE65B0AE}"/>
                  </a:ext>
                </a:extLst>
              </p:cNvPr>
              <p:cNvSpPr/>
              <p:nvPr/>
            </p:nvSpPr>
            <p:spPr>
              <a:xfrm>
                <a:off x="6537434" y="3480318"/>
                <a:ext cx="1474237" cy="6966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dirty="0">
                    <a:solidFill>
                      <a:schemeClr val="tx1">
                        <a:lumMod val="95000"/>
                        <a:lumOff val="5000"/>
                      </a:schemeClr>
                    </a:solidFill>
                    <a:latin typeface="Lato Light" panose="020F0502020204030203" pitchFamily="34" charset="0"/>
                    <a:ea typeface="Lato Light" panose="020F0502020204030203" pitchFamily="34" charset="0"/>
                    <a:cs typeface="Lato Light" panose="020F0502020204030203" pitchFamily="34" charset="0"/>
                  </a:rPr>
                  <a:t>Focus on competitors , customer barriers , and consumer preferences </a:t>
                </a:r>
              </a:p>
            </p:txBody>
          </p:sp>
        </p:grpSp>
      </p:grpSp>
      <p:sp>
        <p:nvSpPr>
          <p:cNvPr id="15" name="TextBox 14">
            <a:extLst>
              <a:ext uri="{FF2B5EF4-FFF2-40B4-BE49-F238E27FC236}">
                <a16:creationId xmlns:a16="http://schemas.microsoft.com/office/drawing/2014/main" id="{5F7D1FDF-E553-B55F-28FC-83B959142604}"/>
              </a:ext>
            </a:extLst>
          </p:cNvPr>
          <p:cNvSpPr txBox="1"/>
          <p:nvPr/>
        </p:nvSpPr>
        <p:spPr>
          <a:xfrm>
            <a:off x="6945147" y="1453878"/>
            <a:ext cx="3437955" cy="1938992"/>
          </a:xfrm>
          <a:prstGeom prst="rect">
            <a:avLst/>
          </a:prstGeom>
          <a:noFill/>
        </p:spPr>
        <p:txBody>
          <a:bodyPr wrap="square" rtlCol="0">
            <a:spAutoFit/>
          </a:bodyPr>
          <a:lstStyle/>
          <a:p>
            <a:r>
              <a:rPr lang="en-GB" sz="1000" dirty="0">
                <a:latin typeface="Lato Light" panose="020F0502020204030203" pitchFamily="34" charset="0"/>
                <a:ea typeface="Lato Light" panose="020F0502020204030203" pitchFamily="34" charset="0"/>
                <a:cs typeface="Lato Light" panose="020F0502020204030203" pitchFamily="34" charset="0"/>
              </a:rPr>
              <a:t>Focus on strategic questions which in turn will help you frame key issues which are brand facing </a:t>
            </a:r>
          </a:p>
          <a:p>
            <a:endParaRPr lang="en-GB" sz="1000" dirty="0">
              <a:latin typeface="Lato Light" panose="020F0502020204030203" pitchFamily="34" charset="0"/>
              <a:ea typeface="Lato Light" panose="020F0502020204030203" pitchFamily="34" charset="0"/>
              <a:cs typeface="Lato Light" panose="020F0502020204030203" pitchFamily="34" charset="0"/>
            </a:endParaRPr>
          </a:p>
          <a:p>
            <a:pPr algn="ctr"/>
            <a:r>
              <a:rPr lang="en-GB" sz="1000" b="1" dirty="0">
                <a:latin typeface="Lato Light" panose="020F0502020204030203" pitchFamily="34" charset="0"/>
                <a:ea typeface="Lato Light" panose="020F0502020204030203" pitchFamily="34" charset="0"/>
                <a:cs typeface="Lato Light" panose="020F0502020204030203" pitchFamily="34" charset="0"/>
              </a:rPr>
              <a:t>Strategic Framing </a:t>
            </a:r>
          </a:p>
          <a:p>
            <a:endParaRPr lang="en-GB" sz="1000" dirty="0">
              <a:latin typeface="Lato Light" panose="020F0502020204030203" pitchFamily="34" charset="0"/>
              <a:ea typeface="Lato Light" panose="020F0502020204030203" pitchFamily="34" charset="0"/>
              <a:cs typeface="Lato Light" panose="020F0502020204030203" pitchFamily="34" charset="0"/>
            </a:endParaRPr>
          </a:p>
          <a:p>
            <a:pPr marL="228600" indent="-228600">
              <a:buFont typeface="+mj-lt"/>
              <a:buAutoNum type="arabicPeriod"/>
            </a:pPr>
            <a:r>
              <a:rPr lang="en-GB" sz="1000" dirty="0">
                <a:latin typeface="Lato Light" panose="020F0502020204030203" pitchFamily="34" charset="0"/>
                <a:ea typeface="Lato Light" panose="020F0502020204030203" pitchFamily="34" charset="0"/>
                <a:cs typeface="Lato Light" panose="020F0502020204030203" pitchFamily="34" charset="0"/>
              </a:rPr>
              <a:t>What is the core strength of your brand , that it wins on </a:t>
            </a:r>
          </a:p>
          <a:p>
            <a:pPr marL="228600" indent="-228600">
              <a:buFont typeface="+mj-lt"/>
              <a:buAutoNum type="arabicPeriod"/>
            </a:pPr>
            <a:r>
              <a:rPr lang="en-GB" sz="1000" dirty="0">
                <a:latin typeface="Lato Light" panose="020F0502020204030203" pitchFamily="34" charset="0"/>
                <a:ea typeface="Lato Light" panose="020F0502020204030203" pitchFamily="34" charset="0"/>
                <a:cs typeface="Lato Light" panose="020F0502020204030203" pitchFamily="34" charset="0"/>
              </a:rPr>
              <a:t>How well engaged is your consumer to the brand </a:t>
            </a:r>
          </a:p>
          <a:p>
            <a:pPr marL="228600" indent="-228600">
              <a:buFont typeface="+mj-lt"/>
              <a:buAutoNum type="arabicPeriod"/>
            </a:pPr>
            <a:r>
              <a:rPr lang="en-GB" sz="1000" dirty="0">
                <a:latin typeface="Lato Light" panose="020F0502020204030203" pitchFamily="34" charset="0"/>
                <a:ea typeface="Lato Light" panose="020F0502020204030203" pitchFamily="34" charset="0"/>
                <a:cs typeface="Lato Light" panose="020F0502020204030203" pitchFamily="34" charset="0"/>
              </a:rPr>
              <a:t>Dwell on your current competitive position </a:t>
            </a:r>
          </a:p>
          <a:p>
            <a:pPr marL="228600" indent="-228600">
              <a:buFont typeface="+mj-lt"/>
              <a:buAutoNum type="arabicPeriod"/>
            </a:pPr>
            <a:r>
              <a:rPr lang="en-GB" sz="1000" dirty="0">
                <a:latin typeface="Lato Light" panose="020F0502020204030203" pitchFamily="34" charset="0"/>
                <a:ea typeface="Lato Light" panose="020F0502020204030203" pitchFamily="34" charset="0"/>
                <a:cs typeface="Lato Light" panose="020F0502020204030203" pitchFamily="34" charset="0"/>
              </a:rPr>
              <a:t>Focus on business situations the brands face  </a:t>
            </a:r>
          </a:p>
          <a:p>
            <a:pPr marL="285750" indent="-285750">
              <a:buFont typeface="+mj-lt"/>
              <a:buAutoNum type="arabicPeriod"/>
            </a:pPr>
            <a:endParaRPr lang="en-GB" sz="1000" dirty="0">
              <a:latin typeface="Lato Light" panose="020F0502020204030203" pitchFamily="34" charset="0"/>
              <a:ea typeface="Lato Light" panose="020F0502020204030203" pitchFamily="34" charset="0"/>
              <a:cs typeface="Lato Light" panose="020F0502020204030203" pitchFamily="34" charset="0"/>
            </a:endParaRPr>
          </a:p>
          <a:p>
            <a:pPr marL="285750" indent="-285750">
              <a:buFont typeface="Arial" panose="020B0604020202020204" pitchFamily="34" charset="0"/>
              <a:buChar char="•"/>
            </a:pPr>
            <a:endParaRPr lang="en-GB" sz="1000" dirty="0">
              <a:latin typeface="Lato Light" panose="020F0502020204030203" pitchFamily="34" charset="0"/>
              <a:ea typeface="Lato Light" panose="020F0502020204030203" pitchFamily="34" charset="0"/>
              <a:cs typeface="Lato Light" panose="020F0502020204030203" pitchFamily="34" charset="0"/>
            </a:endParaRPr>
          </a:p>
        </p:txBody>
      </p:sp>
      <p:grpSp>
        <p:nvGrpSpPr>
          <p:cNvPr id="22" name="Group 21">
            <a:extLst>
              <a:ext uri="{FF2B5EF4-FFF2-40B4-BE49-F238E27FC236}">
                <a16:creationId xmlns:a16="http://schemas.microsoft.com/office/drawing/2014/main" id="{E5A946CA-903E-1525-668B-EE96379BBE8C}"/>
              </a:ext>
            </a:extLst>
          </p:cNvPr>
          <p:cNvGrpSpPr/>
          <p:nvPr/>
        </p:nvGrpSpPr>
        <p:grpSpPr>
          <a:xfrm>
            <a:off x="7048646" y="3376540"/>
            <a:ext cx="3443210" cy="2539571"/>
            <a:chOff x="8513379" y="3660174"/>
            <a:chExt cx="3443210" cy="2539571"/>
          </a:xfrm>
        </p:grpSpPr>
        <p:sp>
          <p:nvSpPr>
            <p:cNvPr id="16" name="TextBox 15">
              <a:extLst>
                <a:ext uri="{FF2B5EF4-FFF2-40B4-BE49-F238E27FC236}">
                  <a16:creationId xmlns:a16="http://schemas.microsoft.com/office/drawing/2014/main" id="{A7303A5E-0378-ED52-F112-F71CE9E23FB4}"/>
                </a:ext>
              </a:extLst>
            </p:cNvPr>
            <p:cNvSpPr txBox="1"/>
            <p:nvPr/>
          </p:nvSpPr>
          <p:spPr>
            <a:xfrm>
              <a:off x="8518634" y="3660174"/>
              <a:ext cx="3437955" cy="400110"/>
            </a:xfrm>
            <a:prstGeom prst="rect">
              <a:avLst/>
            </a:prstGeom>
            <a:noFill/>
          </p:spPr>
          <p:txBody>
            <a:bodyPr wrap="square" rtlCol="0">
              <a:spAutoFit/>
            </a:bodyPr>
            <a:lstStyle/>
            <a:p>
              <a:r>
                <a:rPr lang="en-GB" sz="1000" dirty="0">
                  <a:latin typeface="Lato Light" panose="020F0502020204030203" pitchFamily="34" charset="0"/>
                  <a:ea typeface="Lato Light" panose="020F0502020204030203" pitchFamily="34" charset="0"/>
                  <a:cs typeface="Lato Light" panose="020F0502020204030203" pitchFamily="34" charset="0"/>
                </a:rPr>
                <a:t>Use the strategic framing to elucidate into key issues and strategies.</a:t>
              </a:r>
            </a:p>
          </p:txBody>
        </p:sp>
        <p:sp>
          <p:nvSpPr>
            <p:cNvPr id="17" name="TextBox 16">
              <a:extLst>
                <a:ext uri="{FF2B5EF4-FFF2-40B4-BE49-F238E27FC236}">
                  <a16:creationId xmlns:a16="http://schemas.microsoft.com/office/drawing/2014/main" id="{AD7A5607-EE51-774C-E4C0-565387E6C61C}"/>
                </a:ext>
              </a:extLst>
            </p:cNvPr>
            <p:cNvSpPr txBox="1"/>
            <p:nvPr/>
          </p:nvSpPr>
          <p:spPr>
            <a:xfrm>
              <a:off x="8513379" y="4106864"/>
              <a:ext cx="1566041" cy="2092881"/>
            </a:xfrm>
            <a:prstGeom prst="rect">
              <a:avLst/>
            </a:prstGeom>
            <a:noFill/>
          </p:spPr>
          <p:txBody>
            <a:bodyPr wrap="square" rtlCol="0">
              <a:spAutoFit/>
            </a:bodyPr>
            <a:lstStyle/>
            <a:p>
              <a:pPr algn="ctr"/>
              <a:r>
                <a:rPr lang="en-GB" sz="1000" b="1" dirty="0">
                  <a:latin typeface="Lato Light" panose="020F0502020204030203" pitchFamily="34" charset="0"/>
                  <a:ea typeface="Lato Light" panose="020F0502020204030203" pitchFamily="34" charset="0"/>
                  <a:cs typeface="Lato Light" panose="020F0502020204030203" pitchFamily="34" charset="0"/>
                </a:rPr>
                <a:t>Key Issues </a:t>
              </a:r>
            </a:p>
            <a:p>
              <a:pPr marL="285750" indent="-285750">
                <a:buFont typeface="Arial" panose="020B0604020202020204" pitchFamily="34" charset="0"/>
                <a:buChar char="•"/>
              </a:pPr>
              <a:r>
                <a:rPr lang="en-GB" sz="1000" dirty="0">
                  <a:latin typeface="Lato Light" panose="020F0502020204030203" pitchFamily="34" charset="0"/>
                  <a:ea typeface="Lato Light" panose="020F0502020204030203" pitchFamily="34" charset="0"/>
                  <a:cs typeface="Lato Light" panose="020F0502020204030203" pitchFamily="34" charset="0"/>
                </a:rPr>
                <a:t>Focus on growth priorities such as new users and frequency among current users</a:t>
              </a:r>
            </a:p>
            <a:p>
              <a:pPr marL="285750" indent="-285750">
                <a:buFont typeface="Arial" panose="020B0604020202020204" pitchFamily="34" charset="0"/>
                <a:buChar char="•"/>
              </a:pPr>
              <a:r>
                <a:rPr lang="en-GB" sz="1000" dirty="0">
                  <a:latin typeface="Lato Light" panose="020F0502020204030203" pitchFamily="34" charset="0"/>
                  <a:ea typeface="Lato Light" panose="020F0502020204030203" pitchFamily="34" charset="0"/>
                  <a:cs typeface="Lato Light" panose="020F0502020204030203" pitchFamily="34" charset="0"/>
                </a:rPr>
                <a:t>Focus on trade marketing related distribution gaps</a:t>
              </a:r>
            </a:p>
            <a:p>
              <a:pPr marL="285750" indent="-285750">
                <a:buFont typeface="Arial" panose="020B0604020202020204" pitchFamily="34" charset="0"/>
                <a:buChar char="•"/>
              </a:pPr>
              <a:r>
                <a:rPr lang="en-GB" sz="1000" dirty="0">
                  <a:latin typeface="Lato Light" panose="020F0502020204030203" pitchFamily="34" charset="0"/>
                  <a:ea typeface="Lato Light" panose="020F0502020204030203" pitchFamily="34" charset="0"/>
                  <a:cs typeface="Lato Light" panose="020F0502020204030203" pitchFamily="34" charset="0"/>
                </a:rPr>
                <a:t>Focus on any new developments in the market or challenges </a:t>
              </a:r>
            </a:p>
          </p:txBody>
        </p:sp>
        <p:sp>
          <p:nvSpPr>
            <p:cNvPr id="18" name="TextBox 17">
              <a:extLst>
                <a:ext uri="{FF2B5EF4-FFF2-40B4-BE49-F238E27FC236}">
                  <a16:creationId xmlns:a16="http://schemas.microsoft.com/office/drawing/2014/main" id="{F16B5E07-5E94-3C6A-96A0-5C2A6222A59D}"/>
                </a:ext>
              </a:extLst>
            </p:cNvPr>
            <p:cNvSpPr txBox="1"/>
            <p:nvPr/>
          </p:nvSpPr>
          <p:spPr>
            <a:xfrm>
              <a:off x="10179269" y="4080586"/>
              <a:ext cx="1566041" cy="1938992"/>
            </a:xfrm>
            <a:prstGeom prst="rect">
              <a:avLst/>
            </a:prstGeom>
            <a:noFill/>
          </p:spPr>
          <p:txBody>
            <a:bodyPr wrap="square" rtlCol="0">
              <a:spAutoFit/>
            </a:bodyPr>
            <a:lstStyle/>
            <a:p>
              <a:pPr algn="ctr"/>
              <a:r>
                <a:rPr lang="en-GB" sz="1000" b="1" dirty="0">
                  <a:latin typeface="Lato Light" panose="020F0502020204030203" pitchFamily="34" charset="0"/>
                  <a:ea typeface="Lato Light" panose="020F0502020204030203" pitchFamily="34" charset="0"/>
                  <a:cs typeface="Lato Light" panose="020F0502020204030203" pitchFamily="34" charset="0"/>
                </a:rPr>
                <a:t>Strategies </a:t>
              </a:r>
            </a:p>
            <a:p>
              <a:pPr marL="285750" indent="-285750">
                <a:buFont typeface="Arial" panose="020B0604020202020204" pitchFamily="34" charset="0"/>
                <a:buChar char="•"/>
              </a:pPr>
              <a:r>
                <a:rPr lang="en-GB" sz="1000" dirty="0">
                  <a:latin typeface="Lato Light" panose="020F0502020204030203" pitchFamily="34" charset="0"/>
                  <a:ea typeface="Lato Light" panose="020F0502020204030203" pitchFamily="34" charset="0"/>
                  <a:cs typeface="Lato Light" panose="020F0502020204030203" pitchFamily="34" charset="0"/>
                </a:rPr>
                <a:t>Drive trial post launch by a trade marketing calendar focussing on the brand positioning </a:t>
              </a:r>
            </a:p>
            <a:p>
              <a:pPr marL="285750" indent="-285750">
                <a:buFont typeface="Arial" panose="020B0604020202020204" pitchFamily="34" charset="0"/>
                <a:buChar char="•"/>
              </a:pPr>
              <a:r>
                <a:rPr lang="en-GB" sz="1000" dirty="0">
                  <a:latin typeface="Lato Light" panose="020F0502020204030203" pitchFamily="34" charset="0"/>
                  <a:ea typeface="Lato Light" panose="020F0502020204030203" pitchFamily="34" charset="0"/>
                  <a:cs typeface="Lato Light" panose="020F0502020204030203" pitchFamily="34" charset="0"/>
                </a:rPr>
                <a:t>Engage sales to fix specific high value distribution gaps </a:t>
              </a:r>
            </a:p>
            <a:p>
              <a:pPr marL="285750" indent="-285750">
                <a:buFont typeface="Arial" panose="020B0604020202020204" pitchFamily="34" charset="0"/>
                <a:buChar char="•"/>
              </a:pPr>
              <a:r>
                <a:rPr lang="en-GB" sz="1000" dirty="0">
                  <a:latin typeface="Lato Light" panose="020F0502020204030203" pitchFamily="34" charset="0"/>
                  <a:ea typeface="Lato Light" panose="020F0502020204030203" pitchFamily="34" charset="0"/>
                  <a:cs typeface="Lato Light" panose="020F0502020204030203" pitchFamily="34" charset="0"/>
                </a:rPr>
                <a:t>Communicate at ground level with brand </a:t>
              </a:r>
            </a:p>
          </p:txBody>
        </p:sp>
      </p:grpSp>
    </p:spTree>
    <p:extLst>
      <p:ext uri="{BB962C8B-B14F-4D97-AF65-F5344CB8AC3E}">
        <p14:creationId xmlns:p14="http://schemas.microsoft.com/office/powerpoint/2010/main" val="8809613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196A99-9D90-37EE-2BB1-A2DECA4E26DE}"/>
              </a:ext>
            </a:extLst>
          </p:cNvPr>
          <p:cNvSpPr txBox="1"/>
          <p:nvPr/>
        </p:nvSpPr>
        <p:spPr>
          <a:xfrm>
            <a:off x="268941" y="207845"/>
            <a:ext cx="7951327" cy="746423"/>
          </a:xfrm>
          <a:prstGeom prst="rect">
            <a:avLst/>
          </a:prstGeom>
          <a:noFill/>
          <a:ln>
            <a:noFill/>
          </a:ln>
        </p:spPr>
        <p:txBody>
          <a:bodyPr wrap="square" rtlCol="0">
            <a:spAutoFit/>
          </a:bodyPr>
          <a:lstStyle/>
          <a:p>
            <a:pPr defTabSz="435356">
              <a:defRPr/>
            </a:pPr>
            <a:r>
              <a:rPr lang="en-GB" sz="2800" b="1" dirty="0">
                <a:solidFill>
                  <a:srgbClr val="2A4A8B"/>
                </a:solidFill>
                <a:latin typeface="Poppins" panose="00000500000000000000" pitchFamily="2" charset="0"/>
                <a:cs typeface="Poppins" panose="00000500000000000000" pitchFamily="2" charset="0"/>
              </a:rPr>
              <a:t>Trade Marketing  </a:t>
            </a:r>
            <a:endParaRPr lang="en-GB" sz="3200" b="1" dirty="0">
              <a:solidFill>
                <a:srgbClr val="2A4A8B"/>
              </a:solidFill>
              <a:latin typeface="Poppins" panose="00000500000000000000" pitchFamily="2" charset="0"/>
              <a:cs typeface="Poppins" panose="00000500000000000000" pitchFamily="2" charset="0"/>
            </a:endParaRPr>
          </a:p>
          <a:p>
            <a:pPr>
              <a:lnSpc>
                <a:spcPct val="107000"/>
              </a:lnSpc>
              <a:spcAft>
                <a:spcPts val="800"/>
              </a:spcAft>
            </a:pPr>
            <a:r>
              <a:rPr lang="en-GB" sz="1400" dirty="0">
                <a:effectLst/>
                <a:latin typeface="Poppins" panose="00000500000000000000" pitchFamily="2" charset="0"/>
                <a:ea typeface="Lato Light" panose="020F0502020204030203" pitchFamily="34" charset="0"/>
                <a:cs typeface="Poppins" panose="00000500000000000000" pitchFamily="2" charset="0"/>
              </a:rPr>
              <a:t>Examples of TM .</a:t>
            </a:r>
          </a:p>
        </p:txBody>
      </p:sp>
      <p:pic>
        <p:nvPicPr>
          <p:cNvPr id="3" name="Picture 2" descr="Logo&#10;&#10;Description automatically generated">
            <a:extLst>
              <a:ext uri="{FF2B5EF4-FFF2-40B4-BE49-F238E27FC236}">
                <a16:creationId xmlns:a16="http://schemas.microsoft.com/office/drawing/2014/main" id="{FBED7160-AC40-20D0-725C-60292818F1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4" name="Footer Placeholder 3">
            <a:extLst>
              <a:ext uri="{FF2B5EF4-FFF2-40B4-BE49-F238E27FC236}">
                <a16:creationId xmlns:a16="http://schemas.microsoft.com/office/drawing/2014/main" id="{E4C4F69A-2866-10B4-BF56-22E24F469997}"/>
              </a:ext>
            </a:extLst>
          </p:cNvPr>
          <p:cNvSpPr>
            <a:spLocks noGrp="1"/>
          </p:cNvSpPr>
          <p:nvPr>
            <p:ph type="ftr" sz="quarter" idx="11"/>
          </p:nvPr>
        </p:nvSpPr>
        <p:spPr>
          <a:xfrm>
            <a:off x="4038600" y="6356350"/>
            <a:ext cx="4114800" cy="365125"/>
          </a:xfrm>
        </p:spPr>
        <p:txBody>
          <a:bodyPr/>
          <a:lstStyle/>
          <a:p>
            <a:r>
              <a:rPr lang="en-GB" dirty="0"/>
              <a:t>www.upskilpro.com</a:t>
            </a:r>
          </a:p>
        </p:txBody>
      </p:sp>
      <p:graphicFrame>
        <p:nvGraphicFramePr>
          <p:cNvPr id="5" name="Table 5">
            <a:extLst>
              <a:ext uri="{FF2B5EF4-FFF2-40B4-BE49-F238E27FC236}">
                <a16:creationId xmlns:a16="http://schemas.microsoft.com/office/drawing/2014/main" id="{BD1C58F3-9987-01CA-A57B-CA173463E5A7}"/>
              </a:ext>
            </a:extLst>
          </p:cNvPr>
          <p:cNvGraphicFramePr>
            <a:graphicFrameLocks noGrp="1"/>
          </p:cNvGraphicFramePr>
          <p:nvPr/>
        </p:nvGraphicFramePr>
        <p:xfrm>
          <a:off x="422656" y="1112858"/>
          <a:ext cx="10944000" cy="4682400"/>
        </p:xfrm>
        <a:graphic>
          <a:graphicData uri="http://schemas.openxmlformats.org/drawingml/2006/table">
            <a:tbl>
              <a:tblPr firstRow="1" bandRow="1">
                <a:tableStyleId>{5C22544A-7EE6-4342-B048-85BDC9FD1C3A}</a:tableStyleId>
              </a:tblPr>
              <a:tblGrid>
                <a:gridCol w="1368000">
                  <a:extLst>
                    <a:ext uri="{9D8B030D-6E8A-4147-A177-3AD203B41FA5}">
                      <a16:colId xmlns:a16="http://schemas.microsoft.com/office/drawing/2014/main" val="3595292542"/>
                    </a:ext>
                  </a:extLst>
                </a:gridCol>
                <a:gridCol w="1368000">
                  <a:extLst>
                    <a:ext uri="{9D8B030D-6E8A-4147-A177-3AD203B41FA5}">
                      <a16:colId xmlns:a16="http://schemas.microsoft.com/office/drawing/2014/main" val="2399372645"/>
                    </a:ext>
                  </a:extLst>
                </a:gridCol>
                <a:gridCol w="2736000">
                  <a:extLst>
                    <a:ext uri="{9D8B030D-6E8A-4147-A177-3AD203B41FA5}">
                      <a16:colId xmlns:a16="http://schemas.microsoft.com/office/drawing/2014/main" val="3927993923"/>
                    </a:ext>
                  </a:extLst>
                </a:gridCol>
                <a:gridCol w="2736000">
                  <a:extLst>
                    <a:ext uri="{9D8B030D-6E8A-4147-A177-3AD203B41FA5}">
                      <a16:colId xmlns:a16="http://schemas.microsoft.com/office/drawing/2014/main" val="2931063108"/>
                    </a:ext>
                  </a:extLst>
                </a:gridCol>
                <a:gridCol w="2736000">
                  <a:extLst>
                    <a:ext uri="{9D8B030D-6E8A-4147-A177-3AD203B41FA5}">
                      <a16:colId xmlns:a16="http://schemas.microsoft.com/office/drawing/2014/main" val="1418341717"/>
                    </a:ext>
                  </a:extLst>
                </a:gridCol>
              </a:tblGrid>
              <a:tr h="370840">
                <a:tc gridSpan="5">
                  <a:txBody>
                    <a:bodyPr/>
                    <a:lstStyle/>
                    <a:p>
                      <a:pPr algn="ctr"/>
                      <a:r>
                        <a:rPr lang="en-GB" sz="1200" dirty="0">
                          <a:latin typeface="Lato Light" panose="020F0502020204030203" pitchFamily="34" charset="0"/>
                          <a:ea typeface="Lato Light" panose="020F0502020204030203" pitchFamily="34" charset="0"/>
                          <a:cs typeface="Lato Light" panose="020F0502020204030203" pitchFamily="34" charset="0"/>
                        </a:rPr>
                        <a:t>Trade Marketing Vision : To be the most effective function engaging the trade and delivering category growth along with innovative promotions to increase users of our brands </a:t>
                      </a:r>
                    </a:p>
                  </a:txBody>
                  <a:tcPr>
                    <a:solidFill>
                      <a:schemeClr val="accent1"/>
                    </a:solidFill>
                  </a:tcPr>
                </a:tc>
                <a:tc hMerge="1">
                  <a:txBody>
                    <a:bodyPr/>
                    <a:lstStyle/>
                    <a:p>
                      <a:endParaRPr lang="en-GB"/>
                    </a:p>
                  </a:txBody>
                  <a:tcPr/>
                </a:tc>
                <a:tc hMerge="1">
                  <a:txBody>
                    <a:bodyPr/>
                    <a:lstStyle/>
                    <a:p>
                      <a:pPr algn="ct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solidFill>
                      <a:schemeClr val="accent1"/>
                    </a:solidFill>
                  </a:tcPr>
                </a:tc>
                <a:tc hMerge="1">
                  <a:txBody>
                    <a:bodyPr/>
                    <a:lstStyle/>
                    <a:p>
                      <a:pPr algn="ct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solidFill>
                      <a:schemeClr val="accent1"/>
                    </a:solidFill>
                  </a:tcPr>
                </a:tc>
                <a:tc hMerge="1">
                  <a:txBody>
                    <a:bodyPr/>
                    <a:lstStyle/>
                    <a:p>
                      <a:pPr algn="ct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solidFill>
                      <a:schemeClr val="accent1"/>
                    </a:solidFill>
                  </a:tcPr>
                </a:tc>
                <a:extLst>
                  <a:ext uri="{0D108BD9-81ED-4DB2-BD59-A6C34878D82A}">
                    <a16:rowId xmlns:a16="http://schemas.microsoft.com/office/drawing/2014/main" val="3166367806"/>
                  </a:ext>
                </a:extLst>
              </a:tr>
              <a:tr h="0">
                <a:tc gridSpan="2">
                  <a:txBody>
                    <a:bodyPr/>
                    <a:lstStyle/>
                    <a:p>
                      <a:pPr algn="ctr"/>
                      <a:endParaRPr lang="en-GB" sz="100" b="1" dirty="0">
                        <a:solidFill>
                          <a:schemeClr val="bg1"/>
                        </a:solidFill>
                        <a:latin typeface="Lato Light" panose="020F0502020204030203" pitchFamily="34" charset="0"/>
                        <a:ea typeface="Lato Light" panose="020F0502020204030203" pitchFamily="34" charset="0"/>
                        <a:cs typeface="Lato Light" panose="020F0502020204030203" pitchFamily="34" charset="0"/>
                      </a:endParaRPr>
                    </a:p>
                  </a:txBody>
                  <a:tcPr anchor="ctr">
                    <a:solidFill>
                      <a:schemeClr val="bg1"/>
                    </a:solidFill>
                  </a:tcPr>
                </a:tc>
                <a:tc hMerge="1">
                  <a:txBody>
                    <a:bodyPr/>
                    <a:lstStyle/>
                    <a:p>
                      <a:endParaRPr lang="en-GB"/>
                    </a:p>
                  </a:txBody>
                  <a:tcPr/>
                </a:tc>
                <a:tc>
                  <a:txBody>
                    <a:bodyPr/>
                    <a:lstStyle/>
                    <a:p>
                      <a:pPr algn="ctr"/>
                      <a:endParaRPr lang="en-GB" sz="100" b="1" dirty="0">
                        <a:solidFill>
                          <a:schemeClr val="bg1"/>
                        </a:solidFill>
                        <a:latin typeface="Lato Light" panose="020F0502020204030203" pitchFamily="34" charset="0"/>
                        <a:ea typeface="Lato Light" panose="020F0502020204030203" pitchFamily="34" charset="0"/>
                        <a:cs typeface="Lato Light" panose="020F0502020204030203" pitchFamily="34" charset="0"/>
                      </a:endParaRPr>
                    </a:p>
                  </a:txBody>
                  <a:tcPr anchor="ctr">
                    <a:solidFill>
                      <a:schemeClr val="bg1"/>
                    </a:solidFill>
                  </a:tcPr>
                </a:tc>
                <a:tc>
                  <a:txBody>
                    <a:bodyPr/>
                    <a:lstStyle/>
                    <a:p>
                      <a:pPr algn="ctr"/>
                      <a:endParaRPr lang="en-GB" sz="100" b="1" dirty="0">
                        <a:solidFill>
                          <a:schemeClr val="bg1"/>
                        </a:solidFill>
                        <a:latin typeface="Lato Light" panose="020F0502020204030203" pitchFamily="34" charset="0"/>
                        <a:ea typeface="Lato Light" panose="020F0502020204030203" pitchFamily="34" charset="0"/>
                        <a:cs typeface="Lato Light" panose="020F0502020204030203" pitchFamily="34" charset="0"/>
                      </a:endParaRPr>
                    </a:p>
                  </a:txBody>
                  <a:tcPr anchor="ctr">
                    <a:solidFill>
                      <a:schemeClr val="bg1"/>
                    </a:solidFill>
                  </a:tcPr>
                </a:tc>
                <a:tc>
                  <a:txBody>
                    <a:bodyPr/>
                    <a:lstStyle/>
                    <a:p>
                      <a:pPr algn="ctr"/>
                      <a:endParaRPr lang="en-GB" sz="100" b="1" dirty="0">
                        <a:solidFill>
                          <a:schemeClr val="bg1"/>
                        </a:solidFill>
                        <a:latin typeface="Lato Light" panose="020F0502020204030203" pitchFamily="34" charset="0"/>
                        <a:ea typeface="Lato Light" panose="020F0502020204030203" pitchFamily="34" charset="0"/>
                        <a:cs typeface="Lato Light" panose="020F0502020204030203" pitchFamily="34" charset="0"/>
                      </a:endParaRPr>
                    </a:p>
                  </a:txBody>
                  <a:tcPr anchor="ctr">
                    <a:solidFill>
                      <a:schemeClr val="bg1"/>
                    </a:solidFill>
                  </a:tcPr>
                </a:tc>
                <a:extLst>
                  <a:ext uri="{0D108BD9-81ED-4DB2-BD59-A6C34878D82A}">
                    <a16:rowId xmlns:a16="http://schemas.microsoft.com/office/drawing/2014/main" val="120022804"/>
                  </a:ext>
                </a:extLst>
              </a:tr>
              <a:tr h="370840">
                <a:tc gridSpan="2">
                  <a:txBody>
                    <a:bodyPr/>
                    <a:lstStyle/>
                    <a:p>
                      <a:pPr algn="ctr"/>
                      <a:r>
                        <a:rPr lang="en-GB" sz="1400" b="1" dirty="0">
                          <a:solidFill>
                            <a:schemeClr val="bg1"/>
                          </a:solidFill>
                          <a:latin typeface="Lato Light" panose="020F0502020204030203" pitchFamily="34" charset="0"/>
                          <a:ea typeface="Lato Light" panose="020F0502020204030203" pitchFamily="34" charset="0"/>
                          <a:cs typeface="Lato Light" panose="020F0502020204030203" pitchFamily="34" charset="0"/>
                        </a:rPr>
                        <a:t>Analysis</a:t>
                      </a:r>
                    </a:p>
                  </a:txBody>
                  <a:tcPr anchor="ctr">
                    <a:solidFill>
                      <a:schemeClr val="accent1"/>
                    </a:solidFill>
                  </a:tcPr>
                </a:tc>
                <a:tc hMerge="1">
                  <a:txBody>
                    <a:bodyPr/>
                    <a:lstStyle/>
                    <a:p>
                      <a:endParaRPr lang="en-GB"/>
                    </a:p>
                  </a:txBody>
                  <a:tcPr/>
                </a:tc>
                <a:tc>
                  <a:txBody>
                    <a:bodyPr/>
                    <a:lstStyle/>
                    <a:p>
                      <a:pPr algn="ctr"/>
                      <a:r>
                        <a:rPr lang="en-GB" sz="1400" b="1" dirty="0">
                          <a:solidFill>
                            <a:schemeClr val="bg1"/>
                          </a:solidFill>
                          <a:latin typeface="Lato Light" panose="020F0502020204030203" pitchFamily="34" charset="0"/>
                          <a:ea typeface="Lato Light" panose="020F0502020204030203" pitchFamily="34" charset="0"/>
                          <a:cs typeface="Lato Light" panose="020F0502020204030203" pitchFamily="34" charset="0"/>
                        </a:rPr>
                        <a:t>Strategies </a:t>
                      </a:r>
                    </a:p>
                  </a:txBody>
                  <a:tcPr anchor="ctr">
                    <a:solidFill>
                      <a:schemeClr val="accent1"/>
                    </a:solidFill>
                  </a:tcPr>
                </a:tc>
                <a:tc>
                  <a:txBody>
                    <a:bodyPr/>
                    <a:lstStyle/>
                    <a:p>
                      <a:pPr algn="ctr"/>
                      <a:r>
                        <a:rPr lang="en-GB" sz="1400" b="1" dirty="0">
                          <a:solidFill>
                            <a:schemeClr val="bg1"/>
                          </a:solidFill>
                          <a:latin typeface="Lato Light" panose="020F0502020204030203" pitchFamily="34" charset="0"/>
                          <a:ea typeface="Lato Light" panose="020F0502020204030203" pitchFamily="34" charset="0"/>
                          <a:cs typeface="Lato Light" panose="020F0502020204030203" pitchFamily="34" charset="0"/>
                        </a:rPr>
                        <a:t>Channels &amp; Target Market </a:t>
                      </a:r>
                    </a:p>
                  </a:txBody>
                  <a:tcPr anchor="ctr">
                    <a:solidFill>
                      <a:schemeClr val="accent1"/>
                    </a:solidFill>
                  </a:tcPr>
                </a:tc>
                <a:tc>
                  <a:txBody>
                    <a:bodyPr/>
                    <a:lstStyle/>
                    <a:p>
                      <a:pPr algn="ctr"/>
                      <a:r>
                        <a:rPr lang="en-GB" sz="1400" b="1" dirty="0">
                          <a:solidFill>
                            <a:schemeClr val="bg1"/>
                          </a:solidFill>
                          <a:latin typeface="Lato Light" panose="020F0502020204030203" pitchFamily="34" charset="0"/>
                          <a:ea typeface="Lato Light" panose="020F0502020204030203" pitchFamily="34" charset="0"/>
                          <a:cs typeface="Lato Light" panose="020F0502020204030203" pitchFamily="34" charset="0"/>
                        </a:rPr>
                        <a:t>Execution Plans </a:t>
                      </a:r>
                    </a:p>
                  </a:txBody>
                  <a:tcPr anchor="ctr">
                    <a:solidFill>
                      <a:schemeClr val="accent1"/>
                    </a:solidFill>
                  </a:tcPr>
                </a:tc>
                <a:extLst>
                  <a:ext uri="{0D108BD9-81ED-4DB2-BD59-A6C34878D82A}">
                    <a16:rowId xmlns:a16="http://schemas.microsoft.com/office/drawing/2014/main" val="3633473565"/>
                  </a:ext>
                </a:extLst>
              </a:tr>
              <a:tr h="360000">
                <a:tc>
                  <a:txBody>
                    <a:bodyPr/>
                    <a:lstStyle/>
                    <a:p>
                      <a:r>
                        <a:rPr lang="en-GB" sz="800" b="1" dirty="0">
                          <a:latin typeface="Lato Light" panose="020F0502020204030203" pitchFamily="34" charset="0"/>
                          <a:ea typeface="Lato Light" panose="020F0502020204030203" pitchFamily="34" charset="0"/>
                          <a:cs typeface="Lato Light" panose="020F0502020204030203" pitchFamily="34" charset="0"/>
                        </a:rPr>
                        <a:t>P&amp;L Forecast</a:t>
                      </a:r>
                      <a:r>
                        <a:rPr lang="en-GB" sz="800" dirty="0">
                          <a:latin typeface="Lato Light" panose="020F0502020204030203" pitchFamily="34" charset="0"/>
                          <a:ea typeface="Lato Light" panose="020F0502020204030203" pitchFamily="34" charset="0"/>
                          <a:cs typeface="Lato Light" panose="020F0502020204030203" pitchFamily="34" charset="0"/>
                        </a:rPr>
                        <a:t> </a:t>
                      </a:r>
                    </a:p>
                    <a:p>
                      <a:r>
                        <a:rPr lang="en-GB" sz="800" dirty="0">
                          <a:latin typeface="Lato Light" panose="020F0502020204030203" pitchFamily="34" charset="0"/>
                          <a:ea typeface="Lato Light" panose="020F0502020204030203" pitchFamily="34" charset="0"/>
                          <a:cs typeface="Lato Light" panose="020F0502020204030203" pitchFamily="34" charset="0"/>
                        </a:rPr>
                        <a:t>Sales</a:t>
                      </a:r>
                    </a:p>
                    <a:p>
                      <a:r>
                        <a:rPr lang="en-GB" sz="800" dirty="0">
                          <a:latin typeface="Lato Light" panose="020F0502020204030203" pitchFamily="34" charset="0"/>
                          <a:ea typeface="Lato Light" panose="020F0502020204030203" pitchFamily="34" charset="0"/>
                          <a:cs typeface="Lato Light" panose="020F0502020204030203" pitchFamily="34" charset="0"/>
                        </a:rPr>
                        <a:t>Gross Margin</a:t>
                      </a:r>
                    </a:p>
                    <a:p>
                      <a:r>
                        <a:rPr lang="en-GB" sz="800" dirty="0">
                          <a:latin typeface="Lato Light" panose="020F0502020204030203" pitchFamily="34" charset="0"/>
                          <a:ea typeface="Lato Light" panose="020F0502020204030203" pitchFamily="34" charset="0"/>
                          <a:cs typeface="Lato Light" panose="020F0502020204030203" pitchFamily="34" charset="0"/>
                        </a:rPr>
                        <a:t>GM</a:t>
                      </a:r>
                    </a:p>
                    <a:p>
                      <a:r>
                        <a:rPr lang="en-GB" sz="800" dirty="0">
                          <a:latin typeface="Lato Light" panose="020F0502020204030203" pitchFamily="34" charset="0"/>
                          <a:ea typeface="Lato Light" panose="020F0502020204030203" pitchFamily="34" charset="0"/>
                          <a:cs typeface="Lato Light" panose="020F0502020204030203" pitchFamily="34" charset="0"/>
                        </a:rPr>
                        <a:t>Marketing Expenses</a:t>
                      </a:r>
                    </a:p>
                    <a:p>
                      <a:r>
                        <a:rPr lang="en-GB" sz="800" dirty="0">
                          <a:latin typeface="Lato Light" panose="020F0502020204030203" pitchFamily="34" charset="0"/>
                          <a:ea typeface="Lato Light" panose="020F0502020204030203" pitchFamily="34" charset="0"/>
                          <a:cs typeface="Lato Light" panose="020F0502020204030203" pitchFamily="34" charset="0"/>
                        </a:rPr>
                        <a:t>Contribution Margin </a:t>
                      </a:r>
                    </a:p>
                  </a:txBody>
                  <a:tcPr>
                    <a:solidFill>
                      <a:schemeClr val="bg1">
                        <a:lumMod val="95000"/>
                      </a:schemeClr>
                    </a:solidFill>
                  </a:tcPr>
                </a:tc>
                <a:tc>
                  <a:txBody>
                    <a:bodyPr/>
                    <a:lstStyle/>
                    <a:p>
                      <a:endParaRPr lang="en-GB" sz="800" dirty="0">
                        <a:latin typeface="Lato Light" panose="020F0502020204030203" pitchFamily="34" charset="0"/>
                        <a:ea typeface="Lato Light" panose="020F0502020204030203" pitchFamily="34" charset="0"/>
                        <a:cs typeface="Lato Light" panose="020F0502020204030203" pitchFamily="34" charset="0"/>
                      </a:endParaRPr>
                    </a:p>
                    <a:p>
                      <a:r>
                        <a:rPr lang="en-GB" sz="800" dirty="0">
                          <a:latin typeface="Lato Light" panose="020F0502020204030203" pitchFamily="34" charset="0"/>
                          <a:ea typeface="Lato Light" panose="020F0502020204030203" pitchFamily="34" charset="0"/>
                          <a:cs typeface="Lato Light" panose="020F0502020204030203" pitchFamily="34" charset="0"/>
                        </a:rPr>
                        <a:t>350,000 $</a:t>
                      </a:r>
                    </a:p>
                    <a:p>
                      <a:r>
                        <a:rPr lang="en-GB" sz="800" dirty="0">
                          <a:latin typeface="Lato Light" panose="020F0502020204030203" pitchFamily="34" charset="0"/>
                          <a:ea typeface="Lato Light" panose="020F0502020204030203" pitchFamily="34" charset="0"/>
                          <a:cs typeface="Lato Light" panose="020F0502020204030203" pitchFamily="34" charset="0"/>
                        </a:rPr>
                        <a:t>175,000$</a:t>
                      </a:r>
                    </a:p>
                    <a:p>
                      <a:r>
                        <a:rPr lang="en-GB" sz="800" dirty="0">
                          <a:latin typeface="Lato Light" panose="020F0502020204030203" pitchFamily="34" charset="0"/>
                          <a:ea typeface="Lato Light" panose="020F0502020204030203" pitchFamily="34" charset="0"/>
                          <a:cs typeface="Lato Light" panose="020F0502020204030203" pitchFamily="34" charset="0"/>
                        </a:rPr>
                        <a:t>50%</a:t>
                      </a:r>
                    </a:p>
                    <a:p>
                      <a:r>
                        <a:rPr lang="en-GB" sz="800" dirty="0">
                          <a:latin typeface="Lato Light" panose="020F0502020204030203" pitchFamily="34" charset="0"/>
                          <a:ea typeface="Lato Light" panose="020F0502020204030203" pitchFamily="34" charset="0"/>
                          <a:cs typeface="Lato Light" panose="020F0502020204030203" pitchFamily="34" charset="0"/>
                        </a:rPr>
                        <a:t>45,000$</a:t>
                      </a:r>
                    </a:p>
                    <a:p>
                      <a:endParaRPr lang="en-GB" sz="800" dirty="0">
                        <a:latin typeface="Lato Light" panose="020F0502020204030203" pitchFamily="34" charset="0"/>
                        <a:ea typeface="Lato Light" panose="020F0502020204030203" pitchFamily="34" charset="0"/>
                        <a:cs typeface="Lato Light" panose="020F0502020204030203" pitchFamily="34" charset="0"/>
                      </a:endParaRPr>
                    </a:p>
                  </a:txBody>
                  <a:tcPr>
                    <a:solidFill>
                      <a:schemeClr val="bg1">
                        <a:lumMod val="95000"/>
                      </a:schemeClr>
                    </a:solidFill>
                  </a:tcPr>
                </a:tc>
                <a:tc rowSpan="2">
                  <a:txBody>
                    <a:bodyPr/>
                    <a:lstStyle/>
                    <a:p>
                      <a:r>
                        <a:rPr lang="en-GB" sz="800" b="1" dirty="0">
                          <a:latin typeface="Lato Light" panose="020F0502020204030203" pitchFamily="34" charset="0"/>
                          <a:ea typeface="Lato Light" panose="020F0502020204030203" pitchFamily="34" charset="0"/>
                          <a:cs typeface="Lato Light" panose="020F0502020204030203" pitchFamily="34" charset="0"/>
                        </a:rPr>
                        <a:t>Key Issues </a:t>
                      </a:r>
                    </a:p>
                    <a:p>
                      <a:pPr marL="171450" indent="-171450">
                        <a:buFont typeface="Arial" panose="020B0604020202020204" pitchFamily="34" charset="0"/>
                        <a:buChar char="•"/>
                      </a:pPr>
                      <a:r>
                        <a:rPr lang="en-GB" sz="800" dirty="0">
                          <a:latin typeface="Lato Light" panose="020F0502020204030203" pitchFamily="34" charset="0"/>
                          <a:ea typeface="Lato Light" panose="020F0502020204030203" pitchFamily="34" charset="0"/>
                          <a:cs typeface="Lato Light" panose="020F0502020204030203" pitchFamily="34" charset="0"/>
                        </a:rPr>
                        <a:t>What is the priority choice for growth , is it driven by new users , new accounts or new categories and engagement ?</a:t>
                      </a:r>
                    </a:p>
                    <a:p>
                      <a:pPr marL="171450" indent="-171450">
                        <a:buFont typeface="Arial" panose="020B0604020202020204" pitchFamily="34" charset="0"/>
                        <a:buChar char="•"/>
                      </a:pPr>
                      <a:r>
                        <a:rPr lang="en-GB" sz="800" dirty="0">
                          <a:latin typeface="Lato Light" panose="020F0502020204030203" pitchFamily="34" charset="0"/>
                          <a:ea typeface="Lato Light" panose="020F0502020204030203" pitchFamily="34" charset="0"/>
                          <a:cs typeface="Lato Light" panose="020F0502020204030203" pitchFamily="34" charset="0"/>
                        </a:rPr>
                        <a:t>Where should we invest our trade marketing resources</a:t>
                      </a:r>
                    </a:p>
                    <a:p>
                      <a:pPr marL="171450" indent="-171450">
                        <a:buFont typeface="Arial" panose="020B0604020202020204" pitchFamily="34" charset="0"/>
                        <a:buChar char="•"/>
                      </a:pPr>
                      <a:r>
                        <a:rPr lang="en-GB" sz="800" dirty="0">
                          <a:latin typeface="Lato Light" panose="020F0502020204030203" pitchFamily="34" charset="0"/>
                          <a:ea typeface="Lato Light" panose="020F0502020204030203" pitchFamily="34" charset="0"/>
                          <a:cs typeface="Lato Light" panose="020F0502020204030203" pitchFamily="34" charset="0"/>
                        </a:rPr>
                        <a:t>How do we prioritize accounts </a:t>
                      </a:r>
                    </a:p>
                    <a:p>
                      <a:pPr marL="171450" indent="-171450">
                        <a:buFont typeface="Arial" panose="020B0604020202020204" pitchFamily="34" charset="0"/>
                        <a:buChar char="•"/>
                      </a:pPr>
                      <a:r>
                        <a:rPr lang="en-GB" sz="800" dirty="0">
                          <a:latin typeface="Lato Light" panose="020F0502020204030203" pitchFamily="34" charset="0"/>
                          <a:ea typeface="Lato Light" panose="020F0502020204030203" pitchFamily="34" charset="0"/>
                          <a:cs typeface="Lato Light" panose="020F0502020204030203" pitchFamily="34" charset="0"/>
                        </a:rPr>
                        <a:t>Which categories will we drive and what is the category prioritization  </a:t>
                      </a:r>
                    </a:p>
                    <a:p>
                      <a:pPr marL="171450" indent="-171450">
                        <a:buFont typeface="Arial" panose="020B0604020202020204" pitchFamily="34" charset="0"/>
                        <a:buChar char="•"/>
                      </a:pPr>
                      <a:endParaRPr lang="en-GB" sz="800" dirty="0">
                        <a:latin typeface="Lato Light" panose="020F0502020204030203" pitchFamily="34" charset="0"/>
                        <a:ea typeface="Lato Light" panose="020F0502020204030203" pitchFamily="34" charset="0"/>
                        <a:cs typeface="Lato Light" panose="020F0502020204030203" pitchFamily="34" charset="0"/>
                      </a:endParaRPr>
                    </a:p>
                  </a:txBody>
                  <a:tcPr>
                    <a:solidFill>
                      <a:schemeClr val="bg1">
                        <a:lumMod val="95000"/>
                      </a:schemeClr>
                    </a:solidFill>
                  </a:tcPr>
                </a:tc>
                <a:tc>
                  <a:txBody>
                    <a:bodyPr/>
                    <a:lstStyle/>
                    <a:p>
                      <a:r>
                        <a:rPr lang="en-GB" sz="800" b="1" dirty="0">
                          <a:latin typeface="Lato Light" panose="020F0502020204030203" pitchFamily="34" charset="0"/>
                          <a:ea typeface="Lato Light" panose="020F0502020204030203" pitchFamily="34" charset="0"/>
                          <a:cs typeface="Lato Light" panose="020F0502020204030203" pitchFamily="34" charset="0"/>
                        </a:rPr>
                        <a:t>Core Channels will be as follows </a:t>
                      </a:r>
                    </a:p>
                    <a:p>
                      <a:pPr marL="171450" indent="-171450">
                        <a:buFont typeface="Arial" panose="020B0604020202020204" pitchFamily="34" charset="0"/>
                        <a:buChar char="•"/>
                      </a:pPr>
                      <a:r>
                        <a:rPr lang="en-GB" sz="800" dirty="0">
                          <a:latin typeface="Lato Light" panose="020F0502020204030203" pitchFamily="34" charset="0"/>
                          <a:ea typeface="Lato Light" panose="020F0502020204030203" pitchFamily="34" charset="0"/>
                          <a:cs typeface="Lato Light" panose="020F0502020204030203" pitchFamily="34" charset="0"/>
                        </a:rPr>
                        <a:t>Hyper Markets</a:t>
                      </a:r>
                    </a:p>
                    <a:p>
                      <a:pPr marL="171450" indent="-171450">
                        <a:buFont typeface="Arial" panose="020B0604020202020204" pitchFamily="34" charset="0"/>
                        <a:buChar char="•"/>
                      </a:pPr>
                      <a:r>
                        <a:rPr lang="en-GB" sz="800" dirty="0">
                          <a:latin typeface="Lato Light" panose="020F0502020204030203" pitchFamily="34" charset="0"/>
                          <a:ea typeface="Lato Light" panose="020F0502020204030203" pitchFamily="34" charset="0"/>
                          <a:cs typeface="Lato Light" panose="020F0502020204030203" pitchFamily="34" charset="0"/>
                        </a:rPr>
                        <a:t>DIY Stores </a:t>
                      </a:r>
                    </a:p>
                    <a:p>
                      <a:pPr marL="171450" indent="-171450">
                        <a:buFont typeface="Arial" panose="020B0604020202020204" pitchFamily="34" charset="0"/>
                        <a:buChar char="•"/>
                      </a:pPr>
                      <a:r>
                        <a:rPr lang="en-GB" sz="800" dirty="0">
                          <a:latin typeface="Lato Light" panose="020F0502020204030203" pitchFamily="34" charset="0"/>
                          <a:ea typeface="Lato Light" panose="020F0502020204030203" pitchFamily="34" charset="0"/>
                          <a:cs typeface="Lato Light" panose="020F0502020204030203" pitchFamily="34" charset="0"/>
                        </a:rPr>
                        <a:t>Hardware Stores</a:t>
                      </a:r>
                    </a:p>
                    <a:p>
                      <a:endParaRPr lang="en-GB" sz="800" dirty="0">
                        <a:latin typeface="Lato Light" panose="020F0502020204030203" pitchFamily="34" charset="0"/>
                        <a:ea typeface="Lato Light" panose="020F0502020204030203" pitchFamily="34" charset="0"/>
                        <a:cs typeface="Lato Light" panose="020F0502020204030203" pitchFamily="34" charset="0"/>
                      </a:endParaRPr>
                    </a:p>
                    <a:p>
                      <a:endParaRPr lang="en-GB" sz="800" dirty="0">
                        <a:latin typeface="Lato Light" panose="020F0502020204030203" pitchFamily="34" charset="0"/>
                        <a:ea typeface="Lato Light" panose="020F0502020204030203" pitchFamily="34" charset="0"/>
                        <a:cs typeface="Lato Light" panose="020F0502020204030203" pitchFamily="34" charset="0"/>
                      </a:endParaRPr>
                    </a:p>
                  </a:txBody>
                  <a:tcPr>
                    <a:solidFill>
                      <a:schemeClr val="bg1">
                        <a:lumMod val="95000"/>
                      </a:schemeClr>
                    </a:solidFill>
                  </a:tcPr>
                </a:tc>
                <a:tc>
                  <a:txBody>
                    <a:bodyPr/>
                    <a:lstStyle/>
                    <a:p>
                      <a:r>
                        <a:rPr lang="en-GB" sz="800" b="1" dirty="0">
                          <a:latin typeface="Lato Light" panose="020F0502020204030203" pitchFamily="34" charset="0"/>
                          <a:ea typeface="Lato Light" panose="020F0502020204030203" pitchFamily="34" charset="0"/>
                          <a:cs typeface="Lato Light" panose="020F0502020204030203" pitchFamily="34" charset="0"/>
                        </a:rPr>
                        <a:t>Tactical Advertising </a:t>
                      </a:r>
                    </a:p>
                    <a:p>
                      <a:r>
                        <a:rPr lang="en-GB" sz="800" b="0" dirty="0">
                          <a:latin typeface="Lato Light" panose="020F0502020204030203" pitchFamily="34" charset="0"/>
                          <a:ea typeface="Lato Light" panose="020F0502020204030203" pitchFamily="34" charset="0"/>
                          <a:cs typeface="Lato Light" panose="020F0502020204030203" pitchFamily="34" charset="0"/>
                        </a:rPr>
                        <a:t>Use advertising in a trade marketing sense tactically to drive consumer engagement , utilizing social media engagement and localized radio formats to target specific accounts or regions </a:t>
                      </a:r>
                    </a:p>
                  </a:txBody>
                  <a:tcPr>
                    <a:solidFill>
                      <a:schemeClr val="bg1">
                        <a:lumMod val="95000"/>
                      </a:schemeClr>
                    </a:solidFill>
                  </a:tcPr>
                </a:tc>
                <a:extLst>
                  <a:ext uri="{0D108BD9-81ED-4DB2-BD59-A6C34878D82A}">
                    <a16:rowId xmlns:a16="http://schemas.microsoft.com/office/drawing/2014/main" val="4084307879"/>
                  </a:ext>
                </a:extLst>
              </a:tr>
              <a:tr h="360000">
                <a:tc gridSpan="2">
                  <a:txBody>
                    <a:bodyPr/>
                    <a:lstStyle/>
                    <a:p>
                      <a:r>
                        <a:rPr lang="en-GB" sz="800" b="1" dirty="0">
                          <a:latin typeface="Lato Light" panose="020F0502020204030203" pitchFamily="34" charset="0"/>
                          <a:ea typeface="Lato Light" panose="020F0502020204030203" pitchFamily="34" charset="0"/>
                          <a:cs typeface="Lato Light" panose="020F0502020204030203" pitchFamily="34" charset="0"/>
                        </a:rPr>
                        <a:t>Drivers</a:t>
                      </a:r>
                    </a:p>
                    <a:p>
                      <a:pPr marL="171450" indent="-171450">
                        <a:buFont typeface="Arial" panose="020B0604020202020204" pitchFamily="34" charset="0"/>
                        <a:buChar char="•"/>
                      </a:pPr>
                      <a:r>
                        <a:rPr lang="en-GB" sz="800" dirty="0">
                          <a:latin typeface="Lato Light" panose="020F0502020204030203" pitchFamily="34" charset="0"/>
                          <a:ea typeface="Lato Light" panose="020F0502020204030203" pitchFamily="34" charset="0"/>
                          <a:cs typeface="Lato Light" panose="020F0502020204030203" pitchFamily="34" charset="0"/>
                        </a:rPr>
                        <a:t>Consumers are looking for a new speed drill and the high trials to conversion indicates a sales opportunity  </a:t>
                      </a:r>
                    </a:p>
                    <a:p>
                      <a:pPr marL="171450" indent="-171450">
                        <a:buFont typeface="Arial" panose="020B0604020202020204" pitchFamily="34" charset="0"/>
                        <a:buChar char="•"/>
                      </a:pPr>
                      <a:r>
                        <a:rPr lang="en-GB" sz="800" dirty="0">
                          <a:latin typeface="Lato Light" panose="020F0502020204030203" pitchFamily="34" charset="0"/>
                          <a:ea typeface="Lato Light" panose="020F0502020204030203" pitchFamily="34" charset="0"/>
                          <a:cs typeface="Lato Light" panose="020F0502020204030203" pitchFamily="34" charset="0"/>
                        </a:rPr>
                        <a:t>Excellent brand awareness for the mother brand</a:t>
                      </a:r>
                    </a:p>
                    <a:p>
                      <a:pPr marL="171450" indent="-171450">
                        <a:buFont typeface="Arial" panose="020B0604020202020204" pitchFamily="34" charset="0"/>
                        <a:buChar char="•"/>
                      </a:pPr>
                      <a:endParaRPr lang="en-GB" sz="800" dirty="0">
                        <a:latin typeface="Lato Light" panose="020F0502020204030203" pitchFamily="34" charset="0"/>
                        <a:ea typeface="Lato Light" panose="020F0502020204030203" pitchFamily="34" charset="0"/>
                        <a:cs typeface="Lato Light" panose="020F0502020204030203" pitchFamily="34" charset="0"/>
                      </a:endParaRPr>
                    </a:p>
                    <a:p>
                      <a:endParaRPr lang="en-GB" sz="800" dirty="0">
                        <a:latin typeface="Lato Light" panose="020F0502020204030203" pitchFamily="34" charset="0"/>
                        <a:ea typeface="Lato Light" panose="020F0502020204030203" pitchFamily="34" charset="0"/>
                        <a:cs typeface="Lato Light" panose="020F0502020204030203" pitchFamily="34" charset="0"/>
                      </a:endParaRPr>
                    </a:p>
                  </a:txBody>
                  <a:tcPr>
                    <a:solidFill>
                      <a:schemeClr val="bg1">
                        <a:lumMod val="95000"/>
                      </a:schemeClr>
                    </a:solidFill>
                  </a:tcPr>
                </a:tc>
                <a:tc hMerge="1">
                  <a:txBody>
                    <a:bodyPr/>
                    <a:lstStyle/>
                    <a:p>
                      <a:endParaRPr lang="en-GB"/>
                    </a:p>
                  </a:txBody>
                  <a:tcPr/>
                </a:tc>
                <a:tc vMerge="1">
                  <a:txBody>
                    <a:bodyPr/>
                    <a:lstStyle/>
                    <a:p>
                      <a:endParaRPr lang="en-GB" sz="800" dirty="0">
                        <a:latin typeface="Lato Light" panose="020F0502020204030203" pitchFamily="34" charset="0"/>
                        <a:ea typeface="Lato Light" panose="020F0502020204030203" pitchFamily="34" charset="0"/>
                        <a:cs typeface="Lato Light" panose="020F0502020204030203" pitchFamily="34" charset="0"/>
                      </a:endParaRPr>
                    </a:p>
                  </a:txBody>
                  <a:tcPr>
                    <a:solidFill>
                      <a:schemeClr val="bg1">
                        <a:lumMod val="95000"/>
                      </a:schemeClr>
                    </a:solidFill>
                  </a:tcPr>
                </a:tc>
                <a:tc>
                  <a:txBody>
                    <a:bodyPr/>
                    <a:lstStyle/>
                    <a:p>
                      <a:r>
                        <a:rPr lang="en-GB" sz="800" b="1" dirty="0">
                          <a:latin typeface="Lato Light" panose="020F0502020204030203" pitchFamily="34" charset="0"/>
                          <a:ea typeface="Lato Light" panose="020F0502020204030203" pitchFamily="34" charset="0"/>
                          <a:cs typeface="Lato Light" panose="020F0502020204030203" pitchFamily="34" charset="0"/>
                        </a:rPr>
                        <a:t>Hypermarkets</a:t>
                      </a:r>
                      <a:r>
                        <a:rPr lang="en-GB" sz="800" dirty="0">
                          <a:latin typeface="Lato Light" panose="020F0502020204030203" pitchFamily="34" charset="0"/>
                          <a:ea typeface="Lato Light" panose="020F0502020204030203" pitchFamily="34" charset="0"/>
                          <a:cs typeface="Lato Light" panose="020F0502020204030203" pitchFamily="34" charset="0"/>
                        </a:rPr>
                        <a:t> will be dominant players in the tools category and have separate sections to develop a category approach , and will be home to multiple brands of power tools and related categories </a:t>
                      </a:r>
                    </a:p>
                  </a:txBody>
                  <a:tcPr>
                    <a:solidFill>
                      <a:schemeClr val="bg1">
                        <a:lumMod val="95000"/>
                      </a:schemeClr>
                    </a:solidFill>
                  </a:tcPr>
                </a:tc>
                <a:tc>
                  <a:txBody>
                    <a:bodyPr/>
                    <a:lstStyle/>
                    <a:p>
                      <a:r>
                        <a:rPr lang="en-GB" sz="800" b="1" dirty="0">
                          <a:latin typeface="Lato Light" panose="020F0502020204030203" pitchFamily="34" charset="0"/>
                          <a:ea typeface="Lato Light" panose="020F0502020204030203" pitchFamily="34" charset="0"/>
                          <a:cs typeface="Lato Light" panose="020F0502020204030203" pitchFamily="34" charset="0"/>
                        </a:rPr>
                        <a:t>Sampling</a:t>
                      </a:r>
                    </a:p>
                    <a:p>
                      <a:r>
                        <a:rPr lang="en-GB" sz="800" b="0" dirty="0">
                          <a:latin typeface="Lato Light" panose="020F0502020204030203" pitchFamily="34" charset="0"/>
                          <a:ea typeface="Lato Light" panose="020F0502020204030203" pitchFamily="34" charset="0"/>
                          <a:cs typeface="Lato Light" panose="020F0502020204030203" pitchFamily="34" charset="0"/>
                        </a:rPr>
                        <a:t>Drive trials and initiatives with instore sampling across mapped channels and chains to each category and rand for delivering effective engagement and customer acquisition .</a:t>
                      </a:r>
                    </a:p>
                  </a:txBody>
                  <a:tcPr>
                    <a:solidFill>
                      <a:schemeClr val="bg1">
                        <a:lumMod val="95000"/>
                      </a:schemeClr>
                    </a:solidFill>
                  </a:tcPr>
                </a:tc>
                <a:extLst>
                  <a:ext uri="{0D108BD9-81ED-4DB2-BD59-A6C34878D82A}">
                    <a16:rowId xmlns:a16="http://schemas.microsoft.com/office/drawing/2014/main" val="3810046345"/>
                  </a:ext>
                </a:extLst>
              </a:tr>
              <a:tr h="360000">
                <a:tc gridSpan="2">
                  <a:txBody>
                    <a:bodyPr/>
                    <a:lstStyle/>
                    <a:p>
                      <a:r>
                        <a:rPr lang="en-GB" sz="800" b="1" dirty="0">
                          <a:latin typeface="Lato Light" panose="020F0502020204030203" pitchFamily="34" charset="0"/>
                          <a:ea typeface="Lato Light" panose="020F0502020204030203" pitchFamily="34" charset="0"/>
                          <a:cs typeface="Lato Light" panose="020F0502020204030203" pitchFamily="34" charset="0"/>
                        </a:rPr>
                        <a:t>Inhibitors </a:t>
                      </a:r>
                    </a:p>
                    <a:p>
                      <a:pPr marL="171450" indent="-171450">
                        <a:buFont typeface="Arial" panose="020B0604020202020204" pitchFamily="34" charset="0"/>
                        <a:buChar char="•"/>
                      </a:pPr>
                      <a:r>
                        <a:rPr lang="en-GB" sz="800" dirty="0">
                          <a:latin typeface="Lato Light" panose="020F0502020204030203" pitchFamily="34" charset="0"/>
                          <a:ea typeface="Lato Light" panose="020F0502020204030203" pitchFamily="34" charset="0"/>
                          <a:cs typeface="Lato Light" panose="020F0502020204030203" pitchFamily="34" charset="0"/>
                        </a:rPr>
                        <a:t>Price points are at a premium of 10 % </a:t>
                      </a:r>
                    </a:p>
                    <a:p>
                      <a:pPr marL="171450" indent="-171450">
                        <a:buFont typeface="Arial" panose="020B0604020202020204" pitchFamily="34" charset="0"/>
                        <a:buChar char="•"/>
                      </a:pPr>
                      <a:r>
                        <a:rPr lang="en-GB" sz="800" dirty="0">
                          <a:latin typeface="Lato Light" panose="020F0502020204030203" pitchFamily="34" charset="0"/>
                          <a:ea typeface="Lato Light" panose="020F0502020204030203" pitchFamily="34" charset="0"/>
                          <a:cs typeface="Lato Light" panose="020F0502020204030203" pitchFamily="34" charset="0"/>
                        </a:rPr>
                        <a:t>Distribution is high on VW and Low on ND</a:t>
                      </a:r>
                    </a:p>
                  </a:txBody>
                  <a:tcPr>
                    <a:solidFill>
                      <a:schemeClr val="bg1">
                        <a:lumMod val="95000"/>
                      </a:schemeClr>
                    </a:solidFill>
                  </a:tcPr>
                </a:tc>
                <a:tc hMerge="1">
                  <a:txBody>
                    <a:bodyPr/>
                    <a:lstStyle/>
                    <a:p>
                      <a:endParaRPr lang="en-GB"/>
                    </a:p>
                  </a:txBody>
                  <a:tcPr/>
                </a:tc>
                <a:tc>
                  <a:txBody>
                    <a:bodyPr/>
                    <a:lstStyle/>
                    <a:p>
                      <a:pPr algn="ctr"/>
                      <a:r>
                        <a:rPr lang="en-GB" sz="1400" b="1" kern="1200" dirty="0">
                          <a:solidFill>
                            <a:schemeClr val="bg1"/>
                          </a:solidFill>
                          <a:latin typeface="Lato Light" panose="020F0502020204030203" pitchFamily="34" charset="0"/>
                          <a:ea typeface="Lato Light" panose="020F0502020204030203" pitchFamily="34" charset="0"/>
                          <a:cs typeface="Lato Light" panose="020F0502020204030203" pitchFamily="34" charset="0"/>
                        </a:rPr>
                        <a:t>Tactics</a:t>
                      </a:r>
                    </a:p>
                  </a:txBody>
                  <a:tcPr anchor="ctr">
                    <a:solidFill>
                      <a:schemeClr val="accent1"/>
                    </a:solidFill>
                  </a:tcPr>
                </a:tc>
                <a:tc>
                  <a:txBody>
                    <a:bodyPr/>
                    <a:lstStyle/>
                    <a:p>
                      <a:r>
                        <a:rPr lang="en-GB" sz="800" b="1" dirty="0">
                          <a:latin typeface="Lato Light" panose="020F0502020204030203" pitchFamily="34" charset="0"/>
                          <a:ea typeface="Lato Light" panose="020F0502020204030203" pitchFamily="34" charset="0"/>
                          <a:cs typeface="Lato Light" panose="020F0502020204030203" pitchFamily="34" charset="0"/>
                        </a:rPr>
                        <a:t>DIY </a:t>
                      </a:r>
                      <a:r>
                        <a:rPr lang="en-GB" sz="800" dirty="0">
                          <a:latin typeface="Lato Light" panose="020F0502020204030203" pitchFamily="34" charset="0"/>
                          <a:ea typeface="Lato Light" panose="020F0502020204030203" pitchFamily="34" charset="0"/>
                          <a:cs typeface="Lato Light" panose="020F0502020204030203" pitchFamily="34" charset="0"/>
                        </a:rPr>
                        <a:t>Stores will be our most prominent channel as the traditional power tool user shops at DIY stores to get both his application knowledge and the power tool of choice </a:t>
                      </a:r>
                    </a:p>
                  </a:txBody>
                  <a:tcPr>
                    <a:solidFill>
                      <a:schemeClr val="bg1">
                        <a:lumMod val="95000"/>
                      </a:schemeClr>
                    </a:solidFill>
                  </a:tcPr>
                </a:tc>
                <a:tc rowSpan="2">
                  <a:txBody>
                    <a:bodyPr/>
                    <a:lstStyle/>
                    <a:p>
                      <a:r>
                        <a:rPr lang="en-GB" sz="800" b="1" dirty="0">
                          <a:latin typeface="Lato Light" panose="020F0502020204030203" pitchFamily="34" charset="0"/>
                          <a:ea typeface="Lato Light" panose="020F0502020204030203" pitchFamily="34" charset="0"/>
                          <a:cs typeface="Lato Light" panose="020F0502020204030203" pitchFamily="34" charset="0"/>
                        </a:rPr>
                        <a:t>Promotions</a:t>
                      </a:r>
                    </a:p>
                    <a:p>
                      <a:r>
                        <a:rPr lang="en-GB" sz="800" b="0" dirty="0">
                          <a:latin typeface="Lato Light" panose="020F0502020204030203" pitchFamily="34" charset="0"/>
                          <a:ea typeface="Lato Light" panose="020F0502020204030203" pitchFamily="34" charset="0"/>
                          <a:cs typeface="Lato Light" panose="020F0502020204030203" pitchFamily="34" charset="0"/>
                        </a:rPr>
                        <a:t>Deliver consumer promotions which are carefully balanced in cost terms and aimed at target markets in effective easy to use packaging and communication in high visibility placements and positions  </a:t>
                      </a:r>
                    </a:p>
                  </a:txBody>
                  <a:tcPr>
                    <a:solidFill>
                      <a:schemeClr val="bg1">
                        <a:lumMod val="95000"/>
                      </a:schemeClr>
                    </a:solidFill>
                  </a:tcPr>
                </a:tc>
                <a:extLst>
                  <a:ext uri="{0D108BD9-81ED-4DB2-BD59-A6C34878D82A}">
                    <a16:rowId xmlns:a16="http://schemas.microsoft.com/office/drawing/2014/main" val="4035415105"/>
                  </a:ext>
                </a:extLst>
              </a:tr>
              <a:tr h="360000">
                <a:tc gridSpan="2">
                  <a:txBody>
                    <a:bodyPr/>
                    <a:lstStyle/>
                    <a:p>
                      <a:r>
                        <a:rPr lang="en-GB" sz="800" b="1" dirty="0">
                          <a:latin typeface="Lato Light" panose="020F0502020204030203" pitchFamily="34" charset="0"/>
                          <a:ea typeface="Lato Light" panose="020F0502020204030203" pitchFamily="34" charset="0"/>
                          <a:cs typeface="Lato Light" panose="020F0502020204030203" pitchFamily="34" charset="0"/>
                        </a:rPr>
                        <a:t>Risks</a:t>
                      </a:r>
                    </a:p>
                    <a:p>
                      <a:r>
                        <a:rPr lang="en-GB" sz="800" dirty="0">
                          <a:latin typeface="Lato Light" panose="020F0502020204030203" pitchFamily="34" charset="0"/>
                          <a:ea typeface="Lato Light" panose="020F0502020204030203" pitchFamily="34" charset="0"/>
                          <a:cs typeface="Lato Light" panose="020F0502020204030203" pitchFamily="34" charset="0"/>
                        </a:rPr>
                        <a:t>None observed </a:t>
                      </a:r>
                    </a:p>
                  </a:txBody>
                  <a:tcPr>
                    <a:solidFill>
                      <a:schemeClr val="bg1">
                        <a:lumMod val="95000"/>
                      </a:schemeClr>
                    </a:solidFill>
                  </a:tcPr>
                </a:tc>
                <a:tc hMerge="1">
                  <a:txBody>
                    <a:bodyPr/>
                    <a:lstStyle/>
                    <a:p>
                      <a:endParaRPr lang="en-GB"/>
                    </a:p>
                  </a:txBody>
                  <a:tcPr/>
                </a:tc>
                <a:tc>
                  <a:txBody>
                    <a:bodyPr/>
                    <a:lstStyle/>
                    <a:p>
                      <a:r>
                        <a:rPr lang="en-GB" sz="800" b="1" dirty="0">
                          <a:latin typeface="Lato Light" panose="020F0502020204030203" pitchFamily="34" charset="0"/>
                          <a:ea typeface="Lato Light" panose="020F0502020204030203" pitchFamily="34" charset="0"/>
                          <a:cs typeface="Lato Light" panose="020F0502020204030203" pitchFamily="34" charset="0"/>
                        </a:rPr>
                        <a:t>#1</a:t>
                      </a:r>
                    </a:p>
                    <a:p>
                      <a:r>
                        <a:rPr lang="en-GB" sz="800" dirty="0">
                          <a:latin typeface="Lato Light" panose="020F0502020204030203" pitchFamily="34" charset="0"/>
                          <a:ea typeface="Lato Light" panose="020F0502020204030203" pitchFamily="34" charset="0"/>
                          <a:cs typeface="Lato Light" panose="020F0502020204030203" pitchFamily="34" charset="0"/>
                        </a:rPr>
                        <a:t>Increase penetration of core </a:t>
                      </a:r>
                      <a:r>
                        <a:rPr lang="en-US" sz="800" dirty="0">
                          <a:latin typeface="Lato Light" panose="020F0502020204030203" pitchFamily="34" charset="0"/>
                          <a:ea typeface="Lato Light" panose="020F0502020204030203" pitchFamily="34" charset="0"/>
                          <a:cs typeface="Lato Light" panose="020F0502020204030203" pitchFamily="34" charset="0"/>
                        </a:rPr>
                        <a:t>channel from 18 to 25% </a:t>
                      </a:r>
                      <a:r>
                        <a:rPr lang="en-GB" sz="800" dirty="0">
                          <a:latin typeface="Lato Light" panose="020F0502020204030203" pitchFamily="34" charset="0"/>
                          <a:ea typeface="Lato Light" panose="020F0502020204030203" pitchFamily="34" charset="0"/>
                          <a:cs typeface="Lato Light" panose="020F0502020204030203" pitchFamily="34" charset="0"/>
                        </a:rPr>
                        <a:t> </a:t>
                      </a:r>
                    </a:p>
                  </a:txBody>
                  <a:tcPr>
                    <a:solidFill>
                      <a:schemeClr val="bg1">
                        <a:lumMod val="95000"/>
                      </a:schemeClr>
                    </a:solidFill>
                  </a:tcPr>
                </a:tc>
                <a:tc rowSpan="2">
                  <a:txBody>
                    <a:bodyPr/>
                    <a:lstStyle/>
                    <a:p>
                      <a:r>
                        <a:rPr lang="en-GB" sz="800" b="1" dirty="0">
                          <a:latin typeface="Lato Light" panose="020F0502020204030203" pitchFamily="34" charset="0"/>
                          <a:ea typeface="Lato Light" panose="020F0502020204030203" pitchFamily="34" charset="0"/>
                          <a:cs typeface="Lato Light" panose="020F0502020204030203" pitchFamily="34" charset="0"/>
                        </a:rPr>
                        <a:t>Hard ware Stores </a:t>
                      </a:r>
                      <a:r>
                        <a:rPr lang="en-GB" sz="800" dirty="0">
                          <a:latin typeface="Lato Light" panose="020F0502020204030203" pitchFamily="34" charset="0"/>
                          <a:ea typeface="Lato Light" panose="020F0502020204030203" pitchFamily="34" charset="0"/>
                          <a:cs typeface="Lato Light" panose="020F0502020204030203" pitchFamily="34" charset="0"/>
                        </a:rPr>
                        <a:t>will be a support channel as they will stock up product and resupply all smaller customers and channels where the shopper goes to </a:t>
                      </a:r>
                    </a:p>
                  </a:txBody>
                  <a:tcPr>
                    <a:solidFill>
                      <a:schemeClr val="bg1">
                        <a:lumMod val="95000"/>
                      </a:schemeClr>
                    </a:solidFill>
                  </a:tcPr>
                </a:tc>
                <a:tc vMerge="1">
                  <a:txBody>
                    <a:bodyPr/>
                    <a:lstStyle/>
                    <a:p>
                      <a:endParaRPr lang="en-GB" sz="800" dirty="0">
                        <a:latin typeface="Lato Light" panose="020F0502020204030203" pitchFamily="34" charset="0"/>
                        <a:ea typeface="Lato Light" panose="020F0502020204030203" pitchFamily="34" charset="0"/>
                        <a:cs typeface="Lato Light" panose="020F0502020204030203" pitchFamily="34" charset="0"/>
                      </a:endParaRPr>
                    </a:p>
                  </a:txBody>
                  <a:tcPr>
                    <a:solidFill>
                      <a:schemeClr val="bg1">
                        <a:lumMod val="95000"/>
                      </a:schemeClr>
                    </a:solidFill>
                  </a:tcPr>
                </a:tc>
                <a:extLst>
                  <a:ext uri="{0D108BD9-81ED-4DB2-BD59-A6C34878D82A}">
                    <a16:rowId xmlns:a16="http://schemas.microsoft.com/office/drawing/2014/main" val="1756594477"/>
                  </a:ext>
                </a:extLst>
              </a:tr>
              <a:tr h="316592">
                <a:tc rowSpan="2" gridSpan="2">
                  <a:txBody>
                    <a:bodyPr/>
                    <a:lstStyle/>
                    <a:p>
                      <a:r>
                        <a:rPr lang="en-GB" sz="800" b="1" dirty="0">
                          <a:latin typeface="Lato Light" panose="020F0502020204030203" pitchFamily="34" charset="0"/>
                          <a:ea typeface="Lato Light" panose="020F0502020204030203" pitchFamily="34" charset="0"/>
                          <a:cs typeface="Lato Light" panose="020F0502020204030203" pitchFamily="34" charset="0"/>
                        </a:rPr>
                        <a:t>Opportunities </a:t>
                      </a:r>
                    </a:p>
                    <a:p>
                      <a:r>
                        <a:rPr lang="en-GB" sz="800" dirty="0">
                          <a:latin typeface="Lato Light" panose="020F0502020204030203" pitchFamily="34" charset="0"/>
                          <a:ea typeface="Lato Light" panose="020F0502020204030203" pitchFamily="34" charset="0"/>
                          <a:cs typeface="Lato Light" panose="020F0502020204030203" pitchFamily="34" charset="0"/>
                        </a:rPr>
                        <a:t>The 4 Variants of the drill favour the DIY enthusiasts</a:t>
                      </a:r>
                    </a:p>
                    <a:p>
                      <a:r>
                        <a:rPr lang="en-GB" sz="800" dirty="0">
                          <a:latin typeface="Lato Light" panose="020F0502020204030203" pitchFamily="34" charset="0"/>
                          <a:ea typeface="Lato Light" panose="020F0502020204030203" pitchFamily="34" charset="0"/>
                          <a:cs typeface="Lato Light" panose="020F0502020204030203" pitchFamily="34" charset="0"/>
                        </a:rPr>
                        <a:t>DIY Stores are a large untapped opportunity </a:t>
                      </a:r>
                    </a:p>
                    <a:p>
                      <a:r>
                        <a:rPr lang="en-GB" sz="800" dirty="0">
                          <a:latin typeface="Lato Light" panose="020F0502020204030203" pitchFamily="34" charset="0"/>
                          <a:ea typeface="Lato Light" panose="020F0502020204030203" pitchFamily="34" charset="0"/>
                          <a:cs typeface="Lato Light" panose="020F0502020204030203" pitchFamily="34" charset="0"/>
                        </a:rPr>
                        <a:t>Social media channels are a great way to influence the target market</a:t>
                      </a:r>
                    </a:p>
                  </a:txBody>
                  <a:tcPr>
                    <a:solidFill>
                      <a:schemeClr val="bg1">
                        <a:lumMod val="95000"/>
                      </a:schemeClr>
                    </a:solidFill>
                  </a:tcPr>
                </a:tc>
                <a:tc rowSpan="2" hMerge="1">
                  <a:txBody>
                    <a:bodyPr/>
                    <a:lstStyle/>
                    <a:p>
                      <a:endParaRPr lang="en-GB"/>
                    </a:p>
                  </a:txBody>
                  <a:tcPr/>
                </a:tc>
                <a:tc>
                  <a:txBody>
                    <a:bodyPr/>
                    <a:lstStyle/>
                    <a:p>
                      <a:r>
                        <a:rPr lang="en-GB" sz="800" b="1" dirty="0">
                          <a:latin typeface="Lato Light" panose="020F0502020204030203" pitchFamily="34" charset="0"/>
                          <a:ea typeface="Lato Light" panose="020F0502020204030203" pitchFamily="34" charset="0"/>
                          <a:cs typeface="Lato Light" panose="020F0502020204030203" pitchFamily="34" charset="0"/>
                        </a:rPr>
                        <a:t>#2 </a:t>
                      </a:r>
                    </a:p>
                    <a:p>
                      <a:r>
                        <a:rPr lang="en-US" sz="800" dirty="0">
                          <a:latin typeface="Lato Light" panose="020F0502020204030203" pitchFamily="34" charset="0"/>
                          <a:ea typeface="Lato Light" panose="020F0502020204030203" pitchFamily="34" charset="0"/>
                          <a:cs typeface="Lato Light" panose="020F0502020204030203" pitchFamily="34" charset="0"/>
                        </a:rPr>
                        <a:t>Develop and monitor usage panel in core customers ensuring steady loyalty </a:t>
                      </a:r>
                      <a:endParaRPr lang="en-GB" sz="800" dirty="0">
                        <a:latin typeface="Lato Light" panose="020F0502020204030203" pitchFamily="34" charset="0"/>
                        <a:ea typeface="Lato Light" panose="020F0502020204030203" pitchFamily="34" charset="0"/>
                        <a:cs typeface="Lato Light" panose="020F0502020204030203" pitchFamily="34" charset="0"/>
                      </a:endParaRPr>
                    </a:p>
                  </a:txBody>
                  <a:tcPr>
                    <a:solidFill>
                      <a:schemeClr val="bg1">
                        <a:lumMod val="95000"/>
                      </a:schemeClr>
                    </a:solidFill>
                  </a:tcPr>
                </a:tc>
                <a:tc vMerge="1">
                  <a:txBody>
                    <a:bodyPr/>
                    <a:lstStyle/>
                    <a:p>
                      <a:endParaRPr lang="en-GB" sz="800" dirty="0">
                        <a:latin typeface="Lato Light" panose="020F0502020204030203" pitchFamily="34" charset="0"/>
                        <a:ea typeface="Lato Light" panose="020F0502020204030203" pitchFamily="34" charset="0"/>
                        <a:cs typeface="Lato Light" panose="020F0502020204030203" pitchFamily="34" charset="0"/>
                      </a:endParaRPr>
                    </a:p>
                  </a:txBody>
                  <a:tcPr>
                    <a:solidFill>
                      <a:schemeClr val="bg1">
                        <a:lumMod val="95000"/>
                      </a:schemeClr>
                    </a:solidFill>
                  </a:tcPr>
                </a:tc>
                <a:tc rowSpan="2">
                  <a:txBody>
                    <a:bodyPr/>
                    <a:lstStyle/>
                    <a:p>
                      <a:r>
                        <a:rPr lang="en-GB" sz="800" b="1" dirty="0">
                          <a:latin typeface="Lato Light" panose="020F0502020204030203" pitchFamily="34" charset="0"/>
                          <a:ea typeface="Lato Light" panose="020F0502020204030203" pitchFamily="34" charset="0"/>
                          <a:cs typeface="Lato Light" panose="020F0502020204030203" pitchFamily="34" charset="0"/>
                        </a:rPr>
                        <a:t>Point of sale material </a:t>
                      </a:r>
                    </a:p>
                    <a:p>
                      <a:r>
                        <a:rPr lang="en-GB" sz="800" b="0" dirty="0">
                          <a:latin typeface="Lato Light" panose="020F0502020204030203" pitchFamily="34" charset="0"/>
                          <a:ea typeface="Lato Light" panose="020F0502020204030203" pitchFamily="34" charset="0"/>
                          <a:cs typeface="Lato Light" panose="020F0502020204030203" pitchFamily="34" charset="0"/>
                        </a:rPr>
                        <a:t>Create effective and highly visible point of sale material in conjunction with brand marketing to stock our initiatives in key locations and drive impulse purchasing engagement.</a:t>
                      </a:r>
                    </a:p>
                  </a:txBody>
                  <a:tcPr>
                    <a:solidFill>
                      <a:schemeClr val="bg1">
                        <a:lumMod val="95000"/>
                      </a:schemeClr>
                    </a:solidFill>
                  </a:tcPr>
                </a:tc>
                <a:extLst>
                  <a:ext uri="{0D108BD9-81ED-4DB2-BD59-A6C34878D82A}">
                    <a16:rowId xmlns:a16="http://schemas.microsoft.com/office/drawing/2014/main" val="1899747978"/>
                  </a:ext>
                </a:extLst>
              </a:tr>
              <a:tr h="360000">
                <a:tc gridSpan="2" vMerge="1">
                  <a:txBody>
                    <a:bodyPr/>
                    <a:lstStyle/>
                    <a:p>
                      <a:endParaRPr lang="en-GB" sz="800" dirty="0">
                        <a:latin typeface="Lato Light" panose="020F0502020204030203" pitchFamily="34" charset="0"/>
                        <a:ea typeface="Lato Light" panose="020F0502020204030203" pitchFamily="34" charset="0"/>
                        <a:cs typeface="Lato Light" panose="020F0502020204030203" pitchFamily="34" charset="0"/>
                      </a:endParaRPr>
                    </a:p>
                  </a:txBody>
                  <a:tcPr>
                    <a:solidFill>
                      <a:schemeClr val="bg1">
                        <a:lumMod val="95000"/>
                      </a:schemeClr>
                    </a:solidFill>
                  </a:tcPr>
                </a:tc>
                <a:tc hMerge="1" vMerge="1">
                  <a:txBody>
                    <a:bodyPr/>
                    <a:lstStyle/>
                    <a:p>
                      <a:endParaRPr lang="en-GB"/>
                    </a:p>
                  </a:txBody>
                  <a:tcPr/>
                </a:tc>
                <a:tc>
                  <a:txBody>
                    <a:bodyPr/>
                    <a:lstStyle/>
                    <a:p>
                      <a:r>
                        <a:rPr lang="en-GB" sz="800" b="1" dirty="0">
                          <a:latin typeface="Lato Light" panose="020F0502020204030203" pitchFamily="34" charset="0"/>
                          <a:ea typeface="Lato Light" panose="020F0502020204030203" pitchFamily="34" charset="0"/>
                          <a:cs typeface="Lato Light" panose="020F0502020204030203" pitchFamily="34" charset="0"/>
                        </a:rPr>
                        <a:t>#3</a:t>
                      </a:r>
                    </a:p>
                    <a:p>
                      <a:r>
                        <a:rPr lang="en-US" sz="800" dirty="0">
                          <a:latin typeface="Lato Light" panose="020F0502020204030203" pitchFamily="34" charset="0"/>
                          <a:ea typeface="Lato Light" panose="020F0502020204030203" pitchFamily="34" charset="0"/>
                          <a:cs typeface="Lato Light" panose="020F0502020204030203" pitchFamily="34" charset="0"/>
                        </a:rPr>
                        <a:t>Develop specific</a:t>
                      </a:r>
                      <a:r>
                        <a:rPr lang="en-GB" sz="800" dirty="0">
                          <a:latin typeface="Lato Light" panose="020F0502020204030203" pitchFamily="34" charset="0"/>
                          <a:ea typeface="Lato Light" panose="020F0502020204030203" pitchFamily="34" charset="0"/>
                          <a:cs typeface="Lato Light" panose="020F0502020204030203" pitchFamily="34" charset="0"/>
                        </a:rPr>
                        <a:t> </a:t>
                      </a:r>
                      <a:r>
                        <a:rPr lang="en-US" sz="800" dirty="0">
                          <a:latin typeface="Lato Light" panose="020F0502020204030203" pitchFamily="34" charset="0"/>
                          <a:ea typeface="Lato Light" panose="020F0502020204030203" pitchFamily="34" charset="0"/>
                          <a:cs typeface="Lato Light" panose="020F0502020204030203" pitchFamily="34" charset="0"/>
                        </a:rPr>
                        <a:t>promotion plan </a:t>
                      </a:r>
                      <a:r>
                        <a:rPr lang="en-GB" sz="800" dirty="0">
                          <a:latin typeface="Lato Light" panose="020F0502020204030203" pitchFamily="34" charset="0"/>
                          <a:ea typeface="Lato Light" panose="020F0502020204030203" pitchFamily="34" charset="0"/>
                          <a:cs typeface="Lato Light" panose="020F0502020204030203" pitchFamily="34" charset="0"/>
                        </a:rPr>
                        <a:t>for categories to enable brand switch which includes sampling </a:t>
                      </a:r>
                    </a:p>
                  </a:txBody>
                  <a:tcPr>
                    <a:solidFill>
                      <a:schemeClr val="bg1">
                        <a:lumMod val="95000"/>
                      </a:schemeClr>
                    </a:solidFill>
                  </a:tcPr>
                </a:tc>
                <a:tc>
                  <a:txBody>
                    <a:bodyPr/>
                    <a:lstStyle/>
                    <a:p>
                      <a:endParaRPr lang="en-GB" sz="800" dirty="0">
                        <a:latin typeface="Lato Light" panose="020F0502020204030203" pitchFamily="34" charset="0"/>
                        <a:ea typeface="Lato Light" panose="020F0502020204030203" pitchFamily="34" charset="0"/>
                        <a:cs typeface="Lato Light" panose="020F0502020204030203" pitchFamily="34" charset="0"/>
                      </a:endParaRPr>
                    </a:p>
                  </a:txBody>
                  <a:tcPr>
                    <a:solidFill>
                      <a:schemeClr val="bg1">
                        <a:lumMod val="95000"/>
                      </a:schemeClr>
                    </a:solidFill>
                  </a:tcPr>
                </a:tc>
                <a:tc vMerge="1">
                  <a:txBody>
                    <a:bodyPr/>
                    <a:lstStyle/>
                    <a:p>
                      <a:endParaRPr lang="en-GB" sz="800" dirty="0">
                        <a:latin typeface="Lato Light" panose="020F0502020204030203" pitchFamily="34" charset="0"/>
                        <a:ea typeface="Lato Light" panose="020F0502020204030203" pitchFamily="34" charset="0"/>
                        <a:cs typeface="Lato Light" panose="020F0502020204030203" pitchFamily="34" charset="0"/>
                      </a:endParaRPr>
                    </a:p>
                  </a:txBody>
                  <a:tcPr>
                    <a:solidFill>
                      <a:schemeClr val="bg1">
                        <a:lumMod val="95000"/>
                      </a:schemeClr>
                    </a:solidFill>
                  </a:tcPr>
                </a:tc>
                <a:extLst>
                  <a:ext uri="{0D108BD9-81ED-4DB2-BD59-A6C34878D82A}">
                    <a16:rowId xmlns:a16="http://schemas.microsoft.com/office/drawing/2014/main" val="2644673181"/>
                  </a:ext>
                </a:extLst>
              </a:tr>
              <a:tr h="360000">
                <a:tc gridSpan="2">
                  <a:txBody>
                    <a:bodyPr/>
                    <a:lstStyle/>
                    <a:p>
                      <a:endParaRPr lang="en-GB" sz="800">
                        <a:latin typeface="Lato Light" panose="020F0502020204030203" pitchFamily="34" charset="0"/>
                        <a:ea typeface="Lato Light" panose="020F0502020204030203" pitchFamily="34" charset="0"/>
                        <a:cs typeface="Lato Light" panose="020F0502020204030203" pitchFamily="34" charset="0"/>
                      </a:endParaRPr>
                    </a:p>
                  </a:txBody>
                  <a:tcPr>
                    <a:solidFill>
                      <a:schemeClr val="bg1">
                        <a:lumMod val="95000"/>
                      </a:schemeClr>
                    </a:solidFill>
                  </a:tcPr>
                </a:tc>
                <a:tc hMerge="1">
                  <a:txBody>
                    <a:bodyPr/>
                    <a:lstStyle/>
                    <a:p>
                      <a:endParaRPr lang="en-GB"/>
                    </a:p>
                  </a:txBody>
                  <a:tcPr/>
                </a:tc>
                <a:tc>
                  <a:txBody>
                    <a:bodyPr/>
                    <a:lstStyle/>
                    <a:p>
                      <a:r>
                        <a:rPr lang="en-GB" sz="800" b="1" dirty="0">
                          <a:latin typeface="Lato Light" panose="020F0502020204030203" pitchFamily="34" charset="0"/>
                          <a:ea typeface="Lato Light" panose="020F0502020204030203" pitchFamily="34" charset="0"/>
                          <a:cs typeface="Lato Light" panose="020F0502020204030203" pitchFamily="34" charset="0"/>
                        </a:rPr>
                        <a:t>#4</a:t>
                      </a:r>
                    </a:p>
                    <a:p>
                      <a:r>
                        <a:rPr lang="en-GB" sz="800" dirty="0">
                          <a:latin typeface="Lato Light" panose="020F0502020204030203" pitchFamily="34" charset="0"/>
                          <a:ea typeface="Lato Light" panose="020F0502020204030203" pitchFamily="34" charset="0"/>
                          <a:cs typeface="Lato Light" panose="020F0502020204030203" pitchFamily="34" charset="0"/>
                        </a:rPr>
                        <a:t>Target 0 losses on shelf due</a:t>
                      </a:r>
                    </a:p>
                  </a:txBody>
                  <a:tcPr>
                    <a:solidFill>
                      <a:schemeClr val="bg1">
                        <a:lumMod val="95000"/>
                      </a:schemeClr>
                    </a:solidFill>
                  </a:tcPr>
                </a:tc>
                <a:tc>
                  <a:txBody>
                    <a:bodyPr/>
                    <a:lstStyle/>
                    <a:p>
                      <a:endParaRPr lang="en-GB" sz="800" dirty="0">
                        <a:latin typeface="Lato Light" panose="020F0502020204030203" pitchFamily="34" charset="0"/>
                        <a:ea typeface="Lato Light" panose="020F0502020204030203" pitchFamily="34" charset="0"/>
                        <a:cs typeface="Lato Light" panose="020F0502020204030203" pitchFamily="34" charset="0"/>
                      </a:endParaRPr>
                    </a:p>
                  </a:txBody>
                  <a:tcPr>
                    <a:solidFill>
                      <a:schemeClr val="bg1">
                        <a:lumMod val="95000"/>
                      </a:schemeClr>
                    </a:solidFill>
                  </a:tcPr>
                </a:tc>
                <a:tc>
                  <a:txBody>
                    <a:bodyPr/>
                    <a:lstStyle/>
                    <a:p>
                      <a:endParaRPr lang="en-GB" sz="800" dirty="0">
                        <a:latin typeface="Lato Light" panose="020F0502020204030203" pitchFamily="34" charset="0"/>
                        <a:ea typeface="Lato Light" panose="020F0502020204030203" pitchFamily="34" charset="0"/>
                        <a:cs typeface="Lato Light" panose="020F0502020204030203" pitchFamily="34" charset="0"/>
                      </a:endParaRPr>
                    </a:p>
                  </a:txBody>
                  <a:tcPr>
                    <a:solidFill>
                      <a:schemeClr val="bg1">
                        <a:lumMod val="95000"/>
                      </a:schemeClr>
                    </a:solidFill>
                  </a:tcPr>
                </a:tc>
                <a:extLst>
                  <a:ext uri="{0D108BD9-81ED-4DB2-BD59-A6C34878D82A}">
                    <a16:rowId xmlns:a16="http://schemas.microsoft.com/office/drawing/2014/main" val="740089990"/>
                  </a:ext>
                </a:extLst>
              </a:tr>
            </a:tbl>
          </a:graphicData>
        </a:graphic>
      </p:graphicFrame>
      <p:sp>
        <p:nvSpPr>
          <p:cNvPr id="7" name="TextBox 6">
            <a:extLst>
              <a:ext uri="{FF2B5EF4-FFF2-40B4-BE49-F238E27FC236}">
                <a16:creationId xmlns:a16="http://schemas.microsoft.com/office/drawing/2014/main" id="{CB33049F-D893-3916-FCCA-9FBF84F65DED}"/>
              </a:ext>
            </a:extLst>
          </p:cNvPr>
          <p:cNvSpPr txBox="1"/>
          <p:nvPr/>
        </p:nvSpPr>
        <p:spPr>
          <a:xfrm>
            <a:off x="370332" y="6120384"/>
            <a:ext cx="11082528" cy="338554"/>
          </a:xfrm>
          <a:prstGeom prst="rect">
            <a:avLst/>
          </a:prstGeom>
          <a:noFill/>
        </p:spPr>
        <p:txBody>
          <a:bodyPr wrap="square" rtlCol="0">
            <a:spAutoFit/>
          </a:bodyPr>
          <a:lstStyle/>
          <a:p>
            <a:r>
              <a:rPr lang="en-GB" sz="800" dirty="0">
                <a:latin typeface="Lato Light" panose="020F0502020204030203" pitchFamily="34" charset="0"/>
                <a:ea typeface="Lato Light" panose="020F0502020204030203" pitchFamily="34" charset="0"/>
                <a:cs typeface="Lato Light" panose="020F0502020204030203" pitchFamily="34" charset="0"/>
              </a:rPr>
              <a:t>Comments  : You m</a:t>
            </a:r>
            <a:r>
              <a:rPr lang="en-US" sz="800" dirty="0">
                <a:latin typeface="Lato Light" panose="020F0502020204030203" pitchFamily="34" charset="0"/>
                <a:ea typeface="Lato Light" panose="020F0502020204030203" pitchFamily="34" charset="0"/>
                <a:cs typeface="Lato Light" panose="020F0502020204030203" pitchFamily="34" charset="0"/>
              </a:rPr>
              <a:t>ay use sales data generated at a store level</a:t>
            </a:r>
            <a:r>
              <a:rPr lang="en-GB" sz="800" dirty="0">
                <a:latin typeface="Lato Light" panose="020F0502020204030203" pitchFamily="34" charset="0"/>
                <a:ea typeface="Lato Light" panose="020F0502020204030203" pitchFamily="34" charset="0"/>
                <a:cs typeface="Lato Light" panose="020F0502020204030203" pitchFamily="34" charset="0"/>
              </a:rPr>
              <a:t> for your Trade Marketing P&amp;L.</a:t>
            </a:r>
          </a:p>
          <a:p>
            <a:r>
              <a:rPr lang="en-GB" sz="800" dirty="0">
                <a:latin typeface="Lato Light" panose="020F0502020204030203" pitchFamily="34" charset="0"/>
                <a:ea typeface="Lato Light" panose="020F0502020204030203" pitchFamily="34" charset="0"/>
                <a:cs typeface="Lato Light" panose="020F0502020204030203" pitchFamily="34" charset="0"/>
              </a:rPr>
              <a:t>Please differentiate between sell or shipment inwards data and sell out or shipment out data between trade channels and manufacturers. </a:t>
            </a:r>
            <a:r>
              <a:rPr lang="en-US" sz="800" dirty="0">
                <a:latin typeface="Lato Light" panose="020F0502020204030203" pitchFamily="34" charset="0"/>
                <a:ea typeface="Lato Light" panose="020F0502020204030203" pitchFamily="34" charset="0"/>
                <a:cs typeface="Lato Light" panose="020F0502020204030203" pitchFamily="34" charset="0"/>
              </a:rPr>
              <a:t>  </a:t>
            </a:r>
            <a:r>
              <a:rPr lang="en-GB" sz="800" dirty="0">
                <a:latin typeface="Lato Light" panose="020F0502020204030203" pitchFamily="34" charset="0"/>
                <a:ea typeface="Lato Light" panose="020F0502020204030203" pitchFamily="34" charset="0"/>
                <a:cs typeface="Lato Light" panose="020F0502020204030203" pitchFamily="34" charset="0"/>
              </a:rPr>
              <a:t> </a:t>
            </a:r>
          </a:p>
        </p:txBody>
      </p:sp>
      <p:sp>
        <p:nvSpPr>
          <p:cNvPr id="9" name="Rectangle 8">
            <a:extLst>
              <a:ext uri="{FF2B5EF4-FFF2-40B4-BE49-F238E27FC236}">
                <a16:creationId xmlns:a16="http://schemas.microsoft.com/office/drawing/2014/main" id="{706C299C-D5F1-95ED-2ED2-F651973D069B}"/>
              </a:ext>
            </a:extLst>
          </p:cNvPr>
          <p:cNvSpPr/>
          <p:nvPr/>
        </p:nvSpPr>
        <p:spPr>
          <a:xfrm>
            <a:off x="10024533" y="829734"/>
            <a:ext cx="1299633" cy="262467"/>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9052</a:t>
            </a:r>
          </a:p>
        </p:txBody>
      </p:sp>
    </p:spTree>
    <p:extLst>
      <p:ext uri="{BB962C8B-B14F-4D97-AF65-F5344CB8AC3E}">
        <p14:creationId xmlns:p14="http://schemas.microsoft.com/office/powerpoint/2010/main" val="41233039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06A5CA-D39F-CAC0-71A8-4E5F3E06D459}"/>
              </a:ext>
            </a:extLst>
          </p:cNvPr>
          <p:cNvPicPr>
            <a:picLocks noChangeAspect="1"/>
          </p:cNvPicPr>
          <p:nvPr/>
        </p:nvPicPr>
        <p:blipFill>
          <a:blip r:embed="rId2"/>
          <a:stretch>
            <a:fillRect/>
          </a:stretch>
        </p:blipFill>
        <p:spPr>
          <a:xfrm>
            <a:off x="922692" y="925441"/>
            <a:ext cx="9517533" cy="5530539"/>
          </a:xfrm>
          <a:prstGeom prst="rect">
            <a:avLst/>
          </a:prstGeom>
        </p:spPr>
      </p:pic>
      <p:sp>
        <p:nvSpPr>
          <p:cNvPr id="3" name="TextBox 2">
            <a:extLst>
              <a:ext uri="{FF2B5EF4-FFF2-40B4-BE49-F238E27FC236}">
                <a16:creationId xmlns:a16="http://schemas.microsoft.com/office/drawing/2014/main" id="{B07B0306-06D0-44CD-477F-09CFB4F054BF}"/>
              </a:ext>
            </a:extLst>
          </p:cNvPr>
          <p:cNvSpPr txBox="1"/>
          <p:nvPr/>
        </p:nvSpPr>
        <p:spPr>
          <a:xfrm>
            <a:off x="268941" y="207845"/>
            <a:ext cx="7951327" cy="746423"/>
          </a:xfrm>
          <a:prstGeom prst="rect">
            <a:avLst/>
          </a:prstGeom>
          <a:noFill/>
          <a:ln>
            <a:noFill/>
          </a:ln>
        </p:spPr>
        <p:txBody>
          <a:bodyPr wrap="square" rtlCol="0">
            <a:spAutoFit/>
          </a:bodyPr>
          <a:lstStyle/>
          <a:p>
            <a:pPr defTabSz="435356">
              <a:defRPr/>
            </a:pPr>
            <a:r>
              <a:rPr lang="en-GB" sz="2800" b="1" dirty="0">
                <a:solidFill>
                  <a:srgbClr val="2A4A8B"/>
                </a:solidFill>
                <a:latin typeface="Poppins" panose="00000500000000000000" pitchFamily="2" charset="0"/>
                <a:cs typeface="Poppins" panose="00000500000000000000" pitchFamily="2" charset="0"/>
              </a:rPr>
              <a:t>Trade Marketing  </a:t>
            </a:r>
            <a:endParaRPr lang="en-GB" sz="3200" b="1" dirty="0">
              <a:solidFill>
                <a:srgbClr val="2A4A8B"/>
              </a:solidFill>
              <a:latin typeface="Poppins" panose="00000500000000000000" pitchFamily="2" charset="0"/>
              <a:cs typeface="Poppins" panose="00000500000000000000" pitchFamily="2" charset="0"/>
            </a:endParaRPr>
          </a:p>
          <a:p>
            <a:pPr>
              <a:lnSpc>
                <a:spcPct val="107000"/>
              </a:lnSpc>
              <a:spcAft>
                <a:spcPts val="800"/>
              </a:spcAft>
            </a:pPr>
            <a:r>
              <a:rPr lang="en-GB" sz="1400" dirty="0">
                <a:effectLst/>
                <a:latin typeface="Poppins" panose="00000500000000000000" pitchFamily="2" charset="0"/>
                <a:ea typeface="Lato Light" panose="020F0502020204030203" pitchFamily="34" charset="0"/>
                <a:cs typeface="Poppins" panose="00000500000000000000" pitchFamily="2" charset="0"/>
              </a:rPr>
              <a:t>Examples of TM .</a:t>
            </a:r>
          </a:p>
        </p:txBody>
      </p:sp>
      <p:pic>
        <p:nvPicPr>
          <p:cNvPr id="4" name="Picture 3" descr="Logo&#10;&#10;Description automatically generated">
            <a:extLst>
              <a:ext uri="{FF2B5EF4-FFF2-40B4-BE49-F238E27FC236}">
                <a16:creationId xmlns:a16="http://schemas.microsoft.com/office/drawing/2014/main" id="{DC0FE599-FD9C-5DC9-F054-095B6803E9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5" name="Footer Placeholder 3">
            <a:extLst>
              <a:ext uri="{FF2B5EF4-FFF2-40B4-BE49-F238E27FC236}">
                <a16:creationId xmlns:a16="http://schemas.microsoft.com/office/drawing/2014/main" id="{88C8D57E-92CB-F074-18C3-D59E191E854A}"/>
              </a:ext>
            </a:extLst>
          </p:cNvPr>
          <p:cNvSpPr>
            <a:spLocks noGrp="1"/>
          </p:cNvSpPr>
          <p:nvPr>
            <p:ph type="ftr" sz="quarter" idx="11"/>
          </p:nvPr>
        </p:nvSpPr>
        <p:spPr>
          <a:xfrm>
            <a:off x="4056888" y="6492875"/>
            <a:ext cx="4114800" cy="365125"/>
          </a:xfrm>
        </p:spPr>
        <p:txBody>
          <a:bodyPr/>
          <a:lstStyle/>
          <a:p>
            <a:r>
              <a:rPr lang="en-GB" dirty="0"/>
              <a:t>www.upskilpro.com</a:t>
            </a:r>
          </a:p>
        </p:txBody>
      </p:sp>
    </p:spTree>
    <p:extLst>
      <p:ext uri="{BB962C8B-B14F-4D97-AF65-F5344CB8AC3E}">
        <p14:creationId xmlns:p14="http://schemas.microsoft.com/office/powerpoint/2010/main" val="2162562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C5A076-E5DF-580A-F029-EF20F15402AC}"/>
              </a:ext>
            </a:extLst>
          </p:cNvPr>
          <p:cNvPicPr>
            <a:picLocks noChangeAspect="1"/>
          </p:cNvPicPr>
          <p:nvPr/>
        </p:nvPicPr>
        <p:blipFill>
          <a:blip r:embed="rId2"/>
          <a:stretch>
            <a:fillRect/>
          </a:stretch>
        </p:blipFill>
        <p:spPr>
          <a:xfrm>
            <a:off x="1598503" y="997117"/>
            <a:ext cx="8466944" cy="5379550"/>
          </a:xfrm>
          <a:prstGeom prst="rect">
            <a:avLst/>
          </a:prstGeom>
        </p:spPr>
      </p:pic>
      <p:sp>
        <p:nvSpPr>
          <p:cNvPr id="3" name="TextBox 2">
            <a:extLst>
              <a:ext uri="{FF2B5EF4-FFF2-40B4-BE49-F238E27FC236}">
                <a16:creationId xmlns:a16="http://schemas.microsoft.com/office/drawing/2014/main" id="{7BBDAA21-E036-D136-3D50-58E6044B8A6E}"/>
              </a:ext>
            </a:extLst>
          </p:cNvPr>
          <p:cNvSpPr txBox="1"/>
          <p:nvPr/>
        </p:nvSpPr>
        <p:spPr>
          <a:xfrm>
            <a:off x="268941" y="207845"/>
            <a:ext cx="7951327" cy="746423"/>
          </a:xfrm>
          <a:prstGeom prst="rect">
            <a:avLst/>
          </a:prstGeom>
          <a:noFill/>
          <a:ln>
            <a:noFill/>
          </a:ln>
        </p:spPr>
        <p:txBody>
          <a:bodyPr wrap="square" rtlCol="0">
            <a:spAutoFit/>
          </a:bodyPr>
          <a:lstStyle/>
          <a:p>
            <a:pPr defTabSz="435356">
              <a:defRPr/>
            </a:pPr>
            <a:r>
              <a:rPr lang="en-GB" sz="2800" b="1" dirty="0">
                <a:solidFill>
                  <a:srgbClr val="2A4A8B"/>
                </a:solidFill>
                <a:latin typeface="Poppins" panose="00000500000000000000" pitchFamily="2" charset="0"/>
                <a:cs typeface="Poppins" panose="00000500000000000000" pitchFamily="2" charset="0"/>
              </a:rPr>
              <a:t>Trade Marketing  </a:t>
            </a:r>
            <a:endParaRPr lang="en-GB" sz="3200" b="1" dirty="0">
              <a:solidFill>
                <a:srgbClr val="2A4A8B"/>
              </a:solidFill>
              <a:latin typeface="Poppins" panose="00000500000000000000" pitchFamily="2" charset="0"/>
              <a:cs typeface="Poppins" panose="00000500000000000000" pitchFamily="2" charset="0"/>
            </a:endParaRPr>
          </a:p>
          <a:p>
            <a:pPr>
              <a:lnSpc>
                <a:spcPct val="107000"/>
              </a:lnSpc>
              <a:spcAft>
                <a:spcPts val="800"/>
              </a:spcAft>
            </a:pPr>
            <a:r>
              <a:rPr lang="en-GB" sz="1400" dirty="0">
                <a:effectLst/>
                <a:latin typeface="Poppins" panose="00000500000000000000" pitchFamily="2" charset="0"/>
                <a:ea typeface="Lato Light" panose="020F0502020204030203" pitchFamily="34" charset="0"/>
                <a:cs typeface="Poppins" panose="00000500000000000000" pitchFamily="2" charset="0"/>
              </a:rPr>
              <a:t>Examples of TM .</a:t>
            </a:r>
          </a:p>
        </p:txBody>
      </p:sp>
      <p:pic>
        <p:nvPicPr>
          <p:cNvPr id="4" name="Picture 3" descr="Logo&#10;&#10;Description automatically generated">
            <a:extLst>
              <a:ext uri="{FF2B5EF4-FFF2-40B4-BE49-F238E27FC236}">
                <a16:creationId xmlns:a16="http://schemas.microsoft.com/office/drawing/2014/main" id="{CA94F8AE-C886-FFD0-6D9A-72CE4FDE0DB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5" name="Footer Placeholder 3">
            <a:extLst>
              <a:ext uri="{FF2B5EF4-FFF2-40B4-BE49-F238E27FC236}">
                <a16:creationId xmlns:a16="http://schemas.microsoft.com/office/drawing/2014/main" id="{DBED5872-C71A-D55A-DF5A-4671D1F74501}"/>
              </a:ext>
            </a:extLst>
          </p:cNvPr>
          <p:cNvSpPr>
            <a:spLocks noGrp="1"/>
          </p:cNvSpPr>
          <p:nvPr>
            <p:ph type="ftr" sz="quarter" idx="11"/>
          </p:nvPr>
        </p:nvSpPr>
        <p:spPr>
          <a:xfrm>
            <a:off x="4038600" y="6356350"/>
            <a:ext cx="4114800" cy="365125"/>
          </a:xfrm>
        </p:spPr>
        <p:txBody>
          <a:bodyPr/>
          <a:lstStyle/>
          <a:p>
            <a:r>
              <a:rPr lang="en-GB" dirty="0"/>
              <a:t>www.upskilpro.com</a:t>
            </a:r>
          </a:p>
        </p:txBody>
      </p:sp>
    </p:spTree>
    <p:extLst>
      <p:ext uri="{BB962C8B-B14F-4D97-AF65-F5344CB8AC3E}">
        <p14:creationId xmlns:p14="http://schemas.microsoft.com/office/powerpoint/2010/main" val="11907887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4C6F0BF-E7FD-67D5-3D6C-141D64C5C0F1}"/>
              </a:ext>
            </a:extLst>
          </p:cNvPr>
          <p:cNvPicPr>
            <a:picLocks noChangeAspect="1"/>
          </p:cNvPicPr>
          <p:nvPr/>
        </p:nvPicPr>
        <p:blipFill>
          <a:blip r:embed="rId2"/>
          <a:stretch>
            <a:fillRect/>
          </a:stretch>
        </p:blipFill>
        <p:spPr>
          <a:xfrm>
            <a:off x="772997" y="1431442"/>
            <a:ext cx="10023835" cy="4029189"/>
          </a:xfrm>
          <a:prstGeom prst="rect">
            <a:avLst/>
          </a:prstGeom>
        </p:spPr>
      </p:pic>
      <p:sp>
        <p:nvSpPr>
          <p:cNvPr id="3" name="TextBox 2">
            <a:extLst>
              <a:ext uri="{FF2B5EF4-FFF2-40B4-BE49-F238E27FC236}">
                <a16:creationId xmlns:a16="http://schemas.microsoft.com/office/drawing/2014/main" id="{25196AB4-756F-26E0-B243-9537A4998BD6}"/>
              </a:ext>
            </a:extLst>
          </p:cNvPr>
          <p:cNvSpPr txBox="1"/>
          <p:nvPr/>
        </p:nvSpPr>
        <p:spPr>
          <a:xfrm>
            <a:off x="268941" y="207845"/>
            <a:ext cx="7951327" cy="746423"/>
          </a:xfrm>
          <a:prstGeom prst="rect">
            <a:avLst/>
          </a:prstGeom>
          <a:noFill/>
          <a:ln>
            <a:noFill/>
          </a:ln>
        </p:spPr>
        <p:txBody>
          <a:bodyPr wrap="square" rtlCol="0">
            <a:spAutoFit/>
          </a:bodyPr>
          <a:lstStyle/>
          <a:p>
            <a:pPr defTabSz="435356">
              <a:defRPr/>
            </a:pPr>
            <a:r>
              <a:rPr lang="en-GB" sz="2800" b="1" dirty="0">
                <a:solidFill>
                  <a:srgbClr val="2A4A8B"/>
                </a:solidFill>
                <a:latin typeface="Poppins" panose="00000500000000000000" pitchFamily="2" charset="0"/>
                <a:cs typeface="Poppins" panose="00000500000000000000" pitchFamily="2" charset="0"/>
              </a:rPr>
              <a:t>Trade Marketing  </a:t>
            </a:r>
            <a:endParaRPr lang="en-GB" sz="3200" b="1" dirty="0">
              <a:solidFill>
                <a:srgbClr val="2A4A8B"/>
              </a:solidFill>
              <a:latin typeface="Poppins" panose="00000500000000000000" pitchFamily="2" charset="0"/>
              <a:cs typeface="Poppins" panose="00000500000000000000" pitchFamily="2" charset="0"/>
            </a:endParaRPr>
          </a:p>
          <a:p>
            <a:pPr>
              <a:lnSpc>
                <a:spcPct val="107000"/>
              </a:lnSpc>
              <a:spcAft>
                <a:spcPts val="800"/>
              </a:spcAft>
            </a:pPr>
            <a:r>
              <a:rPr lang="en-GB" sz="1400" dirty="0">
                <a:effectLst/>
                <a:latin typeface="Poppins" panose="00000500000000000000" pitchFamily="2" charset="0"/>
                <a:ea typeface="Lato Light" panose="020F0502020204030203" pitchFamily="34" charset="0"/>
                <a:cs typeface="Poppins" panose="00000500000000000000" pitchFamily="2" charset="0"/>
              </a:rPr>
              <a:t>Examples of TM .</a:t>
            </a:r>
          </a:p>
        </p:txBody>
      </p:sp>
      <p:pic>
        <p:nvPicPr>
          <p:cNvPr id="4" name="Picture 3" descr="Logo&#10;&#10;Description automatically generated">
            <a:extLst>
              <a:ext uri="{FF2B5EF4-FFF2-40B4-BE49-F238E27FC236}">
                <a16:creationId xmlns:a16="http://schemas.microsoft.com/office/drawing/2014/main" id="{50317484-A76B-E078-9EA2-D80CFDC8465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5" name="Footer Placeholder 3">
            <a:extLst>
              <a:ext uri="{FF2B5EF4-FFF2-40B4-BE49-F238E27FC236}">
                <a16:creationId xmlns:a16="http://schemas.microsoft.com/office/drawing/2014/main" id="{1BADB8E2-C541-8D0B-974F-34F9BC8702B8}"/>
              </a:ext>
            </a:extLst>
          </p:cNvPr>
          <p:cNvSpPr>
            <a:spLocks noGrp="1"/>
          </p:cNvSpPr>
          <p:nvPr>
            <p:ph type="ftr" sz="quarter" idx="11"/>
          </p:nvPr>
        </p:nvSpPr>
        <p:spPr>
          <a:xfrm>
            <a:off x="4038600" y="6356350"/>
            <a:ext cx="4114800" cy="365125"/>
          </a:xfrm>
        </p:spPr>
        <p:txBody>
          <a:bodyPr/>
          <a:lstStyle/>
          <a:p>
            <a:r>
              <a:rPr lang="en-GB" dirty="0"/>
              <a:t>www.upskilpro.com</a:t>
            </a:r>
          </a:p>
        </p:txBody>
      </p:sp>
    </p:spTree>
    <p:extLst>
      <p:ext uri="{BB962C8B-B14F-4D97-AF65-F5344CB8AC3E}">
        <p14:creationId xmlns:p14="http://schemas.microsoft.com/office/powerpoint/2010/main" val="1721969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C59AC60-BF4E-FEB7-B7D6-592CFEECBF65}"/>
              </a:ext>
            </a:extLst>
          </p:cNvPr>
          <p:cNvSpPr txBox="1"/>
          <p:nvPr/>
        </p:nvSpPr>
        <p:spPr>
          <a:xfrm>
            <a:off x="0" y="2990944"/>
            <a:ext cx="12192000"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Analysis</a:t>
            </a:r>
          </a:p>
        </p:txBody>
      </p:sp>
    </p:spTree>
    <p:extLst>
      <p:ext uri="{BB962C8B-B14F-4D97-AF65-F5344CB8AC3E}">
        <p14:creationId xmlns:p14="http://schemas.microsoft.com/office/powerpoint/2010/main" val="1754816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A43AF00-BD5A-D419-DFE6-073B2A669DD5}"/>
              </a:ext>
            </a:extLst>
          </p:cNvPr>
          <p:cNvSpPr txBox="1"/>
          <p:nvPr/>
        </p:nvSpPr>
        <p:spPr>
          <a:xfrm>
            <a:off x="116542" y="74495"/>
            <a:ext cx="10056158" cy="800219"/>
          </a:xfrm>
          <a:prstGeom prst="rect">
            <a:avLst/>
          </a:prstGeom>
          <a:solidFill>
            <a:schemeClr val="bg1"/>
          </a:solid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a:t>
            </a: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Trade Marketing Objectives</a:t>
            </a:r>
          </a:p>
        </p:txBody>
      </p:sp>
      <p:pic>
        <p:nvPicPr>
          <p:cNvPr id="3" name="Picture 2" descr="Logo&#10;&#10;Description automatically generated">
            <a:extLst>
              <a:ext uri="{FF2B5EF4-FFF2-40B4-BE49-F238E27FC236}">
                <a16:creationId xmlns:a16="http://schemas.microsoft.com/office/drawing/2014/main" id="{70DE14FA-6BD3-1326-4E43-5D8A5BE1A10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4" name="Footer Placeholder 3">
            <a:extLst>
              <a:ext uri="{FF2B5EF4-FFF2-40B4-BE49-F238E27FC236}">
                <a16:creationId xmlns:a16="http://schemas.microsoft.com/office/drawing/2014/main" id="{B4F967E1-4774-9DC4-7426-D528AF360E2D}"/>
              </a:ext>
            </a:extLst>
          </p:cNvPr>
          <p:cNvSpPr>
            <a:spLocks noGrp="1"/>
          </p:cNvSpPr>
          <p:nvPr>
            <p:ph type="ftr" sz="quarter" idx="11"/>
          </p:nvPr>
        </p:nvSpPr>
        <p:spPr>
          <a:xfrm>
            <a:off x="403860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Lato Light"/>
                <a:ea typeface="+mn-ea"/>
                <a:cs typeface="+mn-cs"/>
              </a:rPr>
              <a:t>www.upskilpro.com</a:t>
            </a:r>
            <a:endParaRPr kumimoji="0" lang="en-GB" sz="1200" b="0" i="0" u="none" strike="noStrike" kern="1200" cap="none" spc="0" normalizeH="0" baseline="0" noProof="0" dirty="0">
              <a:ln>
                <a:noFill/>
              </a:ln>
              <a:solidFill>
                <a:prstClr val="black">
                  <a:tint val="75000"/>
                </a:prstClr>
              </a:solidFill>
              <a:effectLst/>
              <a:uLnTx/>
              <a:uFillTx/>
              <a:latin typeface="Lato Light"/>
              <a:ea typeface="+mn-ea"/>
              <a:cs typeface="+mn-cs"/>
            </a:endParaRPr>
          </a:p>
        </p:txBody>
      </p:sp>
      <p:graphicFrame>
        <p:nvGraphicFramePr>
          <p:cNvPr id="5" name="Table 5">
            <a:extLst>
              <a:ext uri="{FF2B5EF4-FFF2-40B4-BE49-F238E27FC236}">
                <a16:creationId xmlns:a16="http://schemas.microsoft.com/office/drawing/2014/main" id="{44F2C7DE-16E2-BFF7-1B2F-85794C3A6AEF}"/>
              </a:ext>
            </a:extLst>
          </p:cNvPr>
          <p:cNvGraphicFramePr>
            <a:graphicFrameLocks noGrp="1"/>
          </p:cNvGraphicFramePr>
          <p:nvPr/>
        </p:nvGraphicFramePr>
        <p:xfrm>
          <a:off x="824812" y="1770243"/>
          <a:ext cx="10251591" cy="3165840"/>
        </p:xfrm>
        <a:graphic>
          <a:graphicData uri="http://schemas.openxmlformats.org/drawingml/2006/table">
            <a:tbl>
              <a:tblPr firstRow="1" bandRow="1">
                <a:tableStyleId>{5C22544A-7EE6-4342-B048-85BDC9FD1C3A}</a:tableStyleId>
              </a:tblPr>
              <a:tblGrid>
                <a:gridCol w="2931886">
                  <a:extLst>
                    <a:ext uri="{9D8B030D-6E8A-4147-A177-3AD203B41FA5}">
                      <a16:colId xmlns:a16="http://schemas.microsoft.com/office/drawing/2014/main" val="1207560090"/>
                    </a:ext>
                  </a:extLst>
                </a:gridCol>
                <a:gridCol w="2193909">
                  <a:extLst>
                    <a:ext uri="{9D8B030D-6E8A-4147-A177-3AD203B41FA5}">
                      <a16:colId xmlns:a16="http://schemas.microsoft.com/office/drawing/2014/main" val="4118078510"/>
                    </a:ext>
                  </a:extLst>
                </a:gridCol>
                <a:gridCol w="2562898">
                  <a:extLst>
                    <a:ext uri="{9D8B030D-6E8A-4147-A177-3AD203B41FA5}">
                      <a16:colId xmlns:a16="http://schemas.microsoft.com/office/drawing/2014/main" val="3107985587"/>
                    </a:ext>
                  </a:extLst>
                </a:gridCol>
                <a:gridCol w="2562898">
                  <a:extLst>
                    <a:ext uri="{9D8B030D-6E8A-4147-A177-3AD203B41FA5}">
                      <a16:colId xmlns:a16="http://schemas.microsoft.com/office/drawing/2014/main" val="364046904"/>
                    </a:ext>
                  </a:extLst>
                </a:gridCol>
              </a:tblGrid>
              <a:tr h="342770">
                <a:tc>
                  <a:txBody>
                    <a:bodyPr/>
                    <a:lstStyle/>
                    <a:p>
                      <a:r>
                        <a:rPr lang="en-GB" dirty="0"/>
                        <a:t>Business</a:t>
                      </a:r>
                    </a:p>
                  </a:txBody>
                  <a:tcPr/>
                </a:tc>
                <a:tc>
                  <a:txBody>
                    <a:bodyPr/>
                    <a:lstStyle/>
                    <a:p>
                      <a:r>
                        <a:rPr lang="en-GB" dirty="0"/>
                        <a:t>XX</a:t>
                      </a:r>
                    </a:p>
                  </a:txBody>
                  <a:tcPr/>
                </a:tc>
                <a:tc>
                  <a:txBody>
                    <a:bodyPr/>
                    <a:lstStyle/>
                    <a:p>
                      <a:r>
                        <a:rPr lang="en-GB" dirty="0"/>
                        <a:t>Market</a:t>
                      </a:r>
                    </a:p>
                  </a:txBody>
                  <a:tcPr/>
                </a:tc>
                <a:tc>
                  <a:txBody>
                    <a:bodyPr/>
                    <a:lstStyle/>
                    <a:p>
                      <a:r>
                        <a:rPr lang="en-GB" dirty="0"/>
                        <a:t>AA</a:t>
                      </a:r>
                    </a:p>
                  </a:txBody>
                  <a:tcPr/>
                </a:tc>
                <a:extLst>
                  <a:ext uri="{0D108BD9-81ED-4DB2-BD59-A6C34878D82A}">
                    <a16:rowId xmlns:a16="http://schemas.microsoft.com/office/drawing/2014/main" val="385497981"/>
                  </a:ext>
                </a:extLst>
              </a:tr>
              <a:tr h="360000">
                <a:tc>
                  <a:txBody>
                    <a:bodyPr/>
                    <a:lstStyle/>
                    <a:p>
                      <a:r>
                        <a:rPr lang="en-GB" sz="1200" dirty="0"/>
                        <a:t>Brand </a:t>
                      </a:r>
                    </a:p>
                  </a:txBody>
                  <a:tcPr>
                    <a:solidFill>
                      <a:schemeClr val="bg1">
                        <a:lumMod val="95000"/>
                      </a:schemeClr>
                    </a:solidFill>
                  </a:tcPr>
                </a:tc>
                <a:tc>
                  <a:txBody>
                    <a:bodyPr/>
                    <a:lstStyle/>
                    <a:p>
                      <a:r>
                        <a:rPr lang="en-GB" sz="1200" dirty="0"/>
                        <a:t>YY</a:t>
                      </a:r>
                    </a:p>
                  </a:txBody>
                  <a:tcPr>
                    <a:solidFill>
                      <a:schemeClr val="bg1">
                        <a:lumMod val="95000"/>
                      </a:schemeClr>
                    </a:solidFill>
                  </a:tcPr>
                </a:tc>
                <a:tc>
                  <a:txBody>
                    <a:bodyPr/>
                    <a:lstStyle/>
                    <a:p>
                      <a:r>
                        <a:rPr lang="en-GB" sz="1200" dirty="0"/>
                        <a:t>Area</a:t>
                      </a:r>
                    </a:p>
                  </a:txBody>
                  <a:tcPr>
                    <a:solidFill>
                      <a:schemeClr val="bg1">
                        <a:lumMod val="95000"/>
                      </a:schemeClr>
                    </a:solidFill>
                  </a:tcPr>
                </a:tc>
                <a:tc>
                  <a:txBody>
                    <a:bodyPr/>
                    <a:lstStyle/>
                    <a:p>
                      <a:r>
                        <a:rPr lang="en-GB" sz="1200" dirty="0"/>
                        <a:t>ZZ</a:t>
                      </a:r>
                    </a:p>
                  </a:txBody>
                  <a:tcPr>
                    <a:solidFill>
                      <a:schemeClr val="bg1">
                        <a:lumMod val="95000"/>
                      </a:schemeClr>
                    </a:solidFill>
                  </a:tcPr>
                </a:tc>
                <a:extLst>
                  <a:ext uri="{0D108BD9-81ED-4DB2-BD59-A6C34878D82A}">
                    <a16:rowId xmlns:a16="http://schemas.microsoft.com/office/drawing/2014/main" val="1612073081"/>
                  </a:ext>
                </a:extLst>
              </a:tr>
              <a:tr h="360000">
                <a:tc>
                  <a:txBody>
                    <a:bodyPr/>
                    <a:lstStyle/>
                    <a:p>
                      <a:r>
                        <a:rPr lang="en-GB" sz="1200" dirty="0"/>
                        <a:t>Objective </a:t>
                      </a:r>
                    </a:p>
                  </a:txBody>
                  <a:tcPr>
                    <a:solidFill>
                      <a:schemeClr val="bg1">
                        <a:lumMod val="95000"/>
                      </a:schemeClr>
                    </a:solidFill>
                  </a:tcPr>
                </a:tc>
                <a:tc gridSpan="3">
                  <a:txBody>
                    <a:bodyPr/>
                    <a:lstStyle/>
                    <a:p>
                      <a:r>
                        <a:rPr lang="en-GB" sz="1200" dirty="0"/>
                        <a:t>To Increase the brand market share of brand XX from 3.2 % to 5 % in Walmart , Mississauga , by conducting a consumer promotion of Buy 2 Get 1 free in the 300ML size along with POS placements and in store promotion during the period of Jan 1 to Jan 30   </a:t>
                      </a:r>
                    </a:p>
                  </a:txBody>
                  <a:tcPr>
                    <a:solidFill>
                      <a:schemeClr val="bg1">
                        <a:lumMod val="95000"/>
                      </a:schemeClr>
                    </a:solidFill>
                  </a:tcPr>
                </a:tc>
                <a:tc hMerge="1">
                  <a:txBody>
                    <a:bodyPr/>
                    <a:lstStyle/>
                    <a:p>
                      <a:endParaRPr lang="en-GB" dirty="0"/>
                    </a:p>
                  </a:txBody>
                  <a:tcPr>
                    <a:solidFill>
                      <a:schemeClr val="bg1">
                        <a:lumMod val="85000"/>
                      </a:schemeClr>
                    </a:solidFill>
                  </a:tcPr>
                </a:tc>
                <a:tc hMerge="1">
                  <a:txBody>
                    <a:bodyPr/>
                    <a:lstStyle/>
                    <a:p>
                      <a:endParaRPr lang="en-GB" dirty="0"/>
                    </a:p>
                  </a:txBody>
                  <a:tcPr>
                    <a:solidFill>
                      <a:schemeClr val="bg1">
                        <a:lumMod val="85000"/>
                      </a:schemeClr>
                    </a:solidFill>
                  </a:tcPr>
                </a:tc>
                <a:extLst>
                  <a:ext uri="{0D108BD9-81ED-4DB2-BD59-A6C34878D82A}">
                    <a16:rowId xmlns:a16="http://schemas.microsoft.com/office/drawing/2014/main" val="1871633017"/>
                  </a:ext>
                </a:extLst>
              </a:tr>
              <a:tr h="360000">
                <a:tc>
                  <a:txBody>
                    <a:bodyPr/>
                    <a:lstStyle/>
                    <a:p>
                      <a:r>
                        <a:rPr lang="en-GB" sz="1200" dirty="0"/>
                        <a:t>Objective </a:t>
                      </a:r>
                    </a:p>
                  </a:txBody>
                  <a:tcPr>
                    <a:solidFill>
                      <a:schemeClr val="bg1">
                        <a:lumMod val="95000"/>
                      </a:schemeClr>
                    </a:solidFill>
                  </a:tcPr>
                </a:tc>
                <a:tc>
                  <a:txBody>
                    <a:bodyPr/>
                    <a:lstStyle/>
                    <a:p>
                      <a:r>
                        <a:rPr lang="en-GB" sz="1200" dirty="0"/>
                        <a:t>3.2 % </a:t>
                      </a:r>
                    </a:p>
                  </a:txBody>
                  <a:tcPr>
                    <a:solidFill>
                      <a:schemeClr val="bg1">
                        <a:lumMod val="95000"/>
                      </a:schemeClr>
                    </a:solidFill>
                  </a:tcPr>
                </a:tc>
                <a:tc>
                  <a:txBody>
                    <a:bodyPr/>
                    <a:lstStyle/>
                    <a:p>
                      <a:r>
                        <a:rPr lang="en-GB" sz="1200" dirty="0"/>
                        <a:t>5%</a:t>
                      </a:r>
                    </a:p>
                  </a:txBody>
                  <a:tcPr>
                    <a:solidFill>
                      <a:schemeClr val="bg1">
                        <a:lumMod val="95000"/>
                      </a:schemeClr>
                    </a:solidFill>
                  </a:tcPr>
                </a:tc>
                <a:tc>
                  <a:txBody>
                    <a:bodyPr/>
                    <a:lstStyle/>
                    <a:p>
                      <a:r>
                        <a:rPr lang="en-GB" sz="1200" dirty="0"/>
                        <a:t>Gain of 1.8%</a:t>
                      </a:r>
                    </a:p>
                  </a:txBody>
                  <a:tcPr>
                    <a:solidFill>
                      <a:schemeClr val="bg1">
                        <a:lumMod val="95000"/>
                      </a:schemeClr>
                    </a:solidFill>
                  </a:tcPr>
                </a:tc>
                <a:extLst>
                  <a:ext uri="{0D108BD9-81ED-4DB2-BD59-A6C34878D82A}">
                    <a16:rowId xmlns:a16="http://schemas.microsoft.com/office/drawing/2014/main" val="4246901403"/>
                  </a:ext>
                </a:extLst>
              </a:tr>
              <a:tr h="360000">
                <a:tc>
                  <a:txBody>
                    <a:bodyPr/>
                    <a:lstStyle/>
                    <a:p>
                      <a:r>
                        <a:rPr lang="en-GB" sz="1200" dirty="0"/>
                        <a:t>Review Date 15 Feb</a:t>
                      </a:r>
                    </a:p>
                  </a:txBody>
                  <a:tcPr>
                    <a:solidFill>
                      <a:schemeClr val="bg1">
                        <a:lumMod val="95000"/>
                      </a:schemeClr>
                    </a:solidFill>
                  </a:tcPr>
                </a:tc>
                <a:tc>
                  <a:txBody>
                    <a:bodyPr/>
                    <a:lstStyle/>
                    <a:p>
                      <a:r>
                        <a:rPr lang="en-GB" sz="1200" dirty="0"/>
                        <a:t>Name</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1086604594"/>
                  </a:ext>
                </a:extLst>
              </a:tr>
              <a:tr h="360000">
                <a:tc>
                  <a:txBody>
                    <a:bodyPr/>
                    <a:lstStyle/>
                    <a:p>
                      <a:r>
                        <a:rPr lang="en-GB" sz="1200" dirty="0"/>
                        <a:t>Initiator 1</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1942931181"/>
                  </a:ext>
                </a:extLst>
              </a:tr>
              <a:tr h="360000">
                <a:tc>
                  <a:txBody>
                    <a:bodyPr/>
                    <a:lstStyle/>
                    <a:p>
                      <a:r>
                        <a:rPr lang="en-GB" sz="1200" dirty="0"/>
                        <a:t>Reviewer 2</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2490979866"/>
                  </a:ext>
                </a:extLst>
              </a:tr>
              <a:tr h="360000">
                <a:tc>
                  <a:txBody>
                    <a:bodyPr/>
                    <a:lstStyle/>
                    <a:p>
                      <a:r>
                        <a:rPr lang="en-GB" sz="1200" dirty="0"/>
                        <a:t>Reviewer 3</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1678758876"/>
                  </a:ext>
                </a:extLst>
              </a:tr>
            </a:tbl>
          </a:graphicData>
        </a:graphic>
      </p:graphicFrame>
      <p:sp>
        <p:nvSpPr>
          <p:cNvPr id="6" name="TextBox 5">
            <a:extLst>
              <a:ext uri="{FF2B5EF4-FFF2-40B4-BE49-F238E27FC236}">
                <a16:creationId xmlns:a16="http://schemas.microsoft.com/office/drawing/2014/main" id="{DA05382B-42A6-C3B1-D063-9A2B212AAF84}"/>
              </a:ext>
            </a:extLst>
          </p:cNvPr>
          <p:cNvSpPr txBox="1"/>
          <p:nvPr/>
        </p:nvSpPr>
        <p:spPr>
          <a:xfrm>
            <a:off x="9585434" y="4229663"/>
            <a:ext cx="1905376" cy="1384995"/>
          </a:xfrm>
          <a:prstGeom prst="rect">
            <a:avLst/>
          </a:prstGeom>
          <a:solidFill>
            <a:schemeClr val="accent3">
              <a:lumMod val="40000"/>
              <a:lumOff val="6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Lato Light"/>
                <a:ea typeface="+mn-ea"/>
                <a:cs typeface="+mn-cs"/>
              </a:rPr>
              <a:t>Objectives should be </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400" b="1" i="1" u="none" strike="noStrike" kern="1200" cap="none" spc="0" normalizeH="0" baseline="0" noProof="0" dirty="0">
                <a:ln>
                  <a:noFill/>
                </a:ln>
                <a:solidFill>
                  <a:prstClr val="black"/>
                </a:solidFill>
                <a:effectLst/>
                <a:uLnTx/>
                <a:uFillTx/>
                <a:latin typeface="Lato Light"/>
                <a:ea typeface="+mn-ea"/>
                <a:cs typeface="+mn-cs"/>
              </a:rPr>
              <a:t>Specific </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400" b="1" i="1" u="none" strike="noStrike" kern="1200" cap="none" spc="0" normalizeH="0" baseline="0" noProof="0" dirty="0">
                <a:ln>
                  <a:noFill/>
                </a:ln>
                <a:solidFill>
                  <a:prstClr val="black"/>
                </a:solidFill>
                <a:effectLst/>
                <a:uLnTx/>
                <a:uFillTx/>
                <a:latin typeface="Lato Light"/>
                <a:ea typeface="+mn-ea"/>
                <a:cs typeface="+mn-cs"/>
              </a:rPr>
              <a:t>Measurable </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400" b="1" i="1" u="none" strike="noStrike" kern="1200" cap="none" spc="0" normalizeH="0" baseline="0" noProof="0" dirty="0">
                <a:ln>
                  <a:noFill/>
                </a:ln>
                <a:solidFill>
                  <a:prstClr val="black"/>
                </a:solidFill>
                <a:effectLst/>
                <a:uLnTx/>
                <a:uFillTx/>
                <a:latin typeface="Lato Light"/>
                <a:ea typeface="+mn-ea"/>
                <a:cs typeface="+mn-cs"/>
              </a:rPr>
              <a:t>Actionable</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400" b="1" i="1" u="none" strike="noStrike" kern="1200" cap="none" spc="0" normalizeH="0" baseline="0" noProof="0" dirty="0">
                <a:ln>
                  <a:noFill/>
                </a:ln>
                <a:solidFill>
                  <a:prstClr val="black"/>
                </a:solidFill>
                <a:effectLst/>
                <a:uLnTx/>
                <a:uFillTx/>
                <a:latin typeface="Lato Light"/>
                <a:ea typeface="+mn-ea"/>
                <a:cs typeface="+mn-cs"/>
              </a:rPr>
              <a:t>Relevant </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400" b="1" i="1" u="none" strike="noStrike" kern="1200" cap="none" spc="0" normalizeH="0" baseline="0" noProof="0" dirty="0">
                <a:ln>
                  <a:noFill/>
                </a:ln>
                <a:solidFill>
                  <a:prstClr val="black"/>
                </a:solidFill>
                <a:effectLst/>
                <a:uLnTx/>
                <a:uFillTx/>
                <a:latin typeface="Lato Light"/>
                <a:ea typeface="+mn-ea"/>
                <a:cs typeface="+mn-cs"/>
              </a:rPr>
              <a:t>Timebound </a:t>
            </a:r>
          </a:p>
        </p:txBody>
      </p:sp>
    </p:spTree>
    <p:extLst>
      <p:ext uri="{BB962C8B-B14F-4D97-AF65-F5344CB8AC3E}">
        <p14:creationId xmlns:p14="http://schemas.microsoft.com/office/powerpoint/2010/main" val="25392469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tomers &amp; Users / Color Wheel">
            <a:extLst>
              <a:ext uri="{FF2B5EF4-FFF2-40B4-BE49-F238E27FC236}">
                <a16:creationId xmlns:a16="http://schemas.microsoft.com/office/drawing/2014/main" id="{235BF9F6-8FB8-4102-B600-1BA25DA75A90}"/>
              </a:ext>
            </a:extLst>
          </p:cNvPr>
          <p:cNvPicPr>
            <a:picLocks noChangeAspect="1" noChangeArrowheads="1"/>
          </p:cNvPicPr>
          <p:nvPr/>
        </p:nvPicPr>
        <p:blipFill>
          <a:blip r:embed="rId2">
            <a:grayscl/>
            <a:extLst>
              <a:ext uri="{28A0092B-C50C-407E-A947-70E740481C1C}">
                <a14:useLocalDpi xmlns:a14="http://schemas.microsoft.com/office/drawing/2010/main" val="0"/>
              </a:ext>
            </a:extLst>
          </a:blip>
          <a:srcRect/>
          <a:stretch>
            <a:fillRect/>
          </a:stretch>
        </p:blipFill>
        <p:spPr bwMode="auto">
          <a:xfrm>
            <a:off x="398234" y="763404"/>
            <a:ext cx="2839408" cy="1891046"/>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Yellow and Black Letter T-letter Blocks">
            <a:extLst>
              <a:ext uri="{FF2B5EF4-FFF2-40B4-BE49-F238E27FC236}">
                <a16:creationId xmlns:a16="http://schemas.microsoft.com/office/drawing/2014/main" id="{B0B09F9C-79B3-4CC7-89A4-00ED763C74F9}"/>
              </a:ext>
            </a:extLst>
          </p:cNvPr>
          <p:cNvPicPr>
            <a:picLocks noChangeAspect="1" noChangeArrowheads="1"/>
          </p:cNvPicPr>
          <p:nvPr/>
        </p:nvPicPr>
        <p:blipFill>
          <a:blip r:embed="rId3">
            <a:grayscl/>
            <a:extLst>
              <a:ext uri="{28A0092B-C50C-407E-A947-70E740481C1C}">
                <a14:useLocalDpi xmlns:a14="http://schemas.microsoft.com/office/drawing/2010/main" val="0"/>
              </a:ext>
            </a:extLst>
          </a:blip>
          <a:srcRect/>
          <a:stretch>
            <a:fillRect/>
          </a:stretch>
        </p:blipFill>
        <p:spPr bwMode="auto">
          <a:xfrm>
            <a:off x="3366165" y="4319939"/>
            <a:ext cx="2911852" cy="1866959"/>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White and Yellow Dice on Green Surface">
            <a:extLst>
              <a:ext uri="{FF2B5EF4-FFF2-40B4-BE49-F238E27FC236}">
                <a16:creationId xmlns:a16="http://schemas.microsoft.com/office/drawing/2014/main" id="{05C760EA-A3E9-4BAD-93E9-60A6E1CC9921}"/>
              </a:ext>
            </a:extLst>
          </p:cNvPr>
          <p:cNvPicPr>
            <a:picLocks noChangeAspect="1" noChangeArrowheads="1"/>
          </p:cNvPicPr>
          <p:nvPr/>
        </p:nvPicPr>
        <p:blipFill>
          <a:blip r:embed="rId4">
            <a:grayscl/>
            <a:extLst>
              <a:ext uri="{28A0092B-C50C-407E-A947-70E740481C1C}">
                <a14:useLocalDpi xmlns:a14="http://schemas.microsoft.com/office/drawing/2010/main" val="0"/>
              </a:ext>
            </a:extLst>
          </a:blip>
          <a:srcRect/>
          <a:stretch>
            <a:fillRect/>
          </a:stretch>
        </p:blipFill>
        <p:spPr bwMode="auto">
          <a:xfrm>
            <a:off x="398234" y="4319939"/>
            <a:ext cx="2850294" cy="1904719"/>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Grayscale Photo of People at Market">
            <a:extLst>
              <a:ext uri="{FF2B5EF4-FFF2-40B4-BE49-F238E27FC236}">
                <a16:creationId xmlns:a16="http://schemas.microsoft.com/office/drawing/2014/main" id="{33360189-70B2-4227-B44B-51871A89BB4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01904" y="754717"/>
            <a:ext cx="2911851" cy="190471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Logo&#10;&#10;Description automatically generated">
            <a:extLst>
              <a:ext uri="{FF2B5EF4-FFF2-40B4-BE49-F238E27FC236}">
                <a16:creationId xmlns:a16="http://schemas.microsoft.com/office/drawing/2014/main" id="{07D0B562-11DB-4F24-BB09-D018A7ACE61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4" name="Footer Placeholder 3">
            <a:extLst>
              <a:ext uri="{FF2B5EF4-FFF2-40B4-BE49-F238E27FC236}">
                <a16:creationId xmlns:a16="http://schemas.microsoft.com/office/drawing/2014/main" id="{7645C8D1-EABD-447B-B8E8-294ED42B5306}"/>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tint val="75000"/>
                  </a:prstClr>
                </a:solidFill>
                <a:effectLst/>
                <a:uLnTx/>
                <a:uFillTx/>
                <a:latin typeface="Lato Light"/>
                <a:ea typeface="+mn-ea"/>
                <a:cs typeface="+mn-cs"/>
              </a:rPr>
              <a:t>www.upskilpro.com</a:t>
            </a:r>
          </a:p>
        </p:txBody>
      </p:sp>
      <p:sp>
        <p:nvSpPr>
          <p:cNvPr id="23" name="Rectangle 22">
            <a:extLst>
              <a:ext uri="{FF2B5EF4-FFF2-40B4-BE49-F238E27FC236}">
                <a16:creationId xmlns:a16="http://schemas.microsoft.com/office/drawing/2014/main" id="{C63B2F05-B9A4-42FA-9DE1-4E4B120E90EB}"/>
              </a:ext>
            </a:extLst>
          </p:cNvPr>
          <p:cNvSpPr/>
          <p:nvPr/>
        </p:nvSpPr>
        <p:spPr>
          <a:xfrm>
            <a:off x="7114140" y="2596903"/>
            <a:ext cx="4574866" cy="193899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UpskilPRO tools are designed in easy-to-use solutions, all you need to do is download the tool and get to work immediately . All UpskilPRO material has taken 100’s of hours and many 1000’s of $ to build , all this expertise and content is brought to you for a fraction of the cost to help professionals enhance their capabil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	core areas which are best suited to improve using our tool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endParaRPr>
          </a:p>
          <a:p>
            <a:pPr marL="21145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Subject matter expertise </a:t>
            </a:r>
          </a:p>
          <a:p>
            <a:pPr marL="21145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Best practices</a:t>
            </a:r>
          </a:p>
          <a:p>
            <a:pPr marL="21145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Analytical output &amp; charting </a:t>
            </a:r>
          </a:p>
          <a:p>
            <a:pPr marL="21145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Prioritization</a:t>
            </a:r>
          </a:p>
          <a:p>
            <a:pPr marL="21145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Process</a:t>
            </a:r>
          </a:p>
          <a:p>
            <a:pPr marL="21145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Training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endParaRPr>
          </a:p>
        </p:txBody>
      </p:sp>
      <p:sp>
        <p:nvSpPr>
          <p:cNvPr id="49" name="Rectangle 48">
            <a:extLst>
              <a:ext uri="{FF2B5EF4-FFF2-40B4-BE49-F238E27FC236}">
                <a16:creationId xmlns:a16="http://schemas.microsoft.com/office/drawing/2014/main" id="{2595F606-B854-479A-B445-F7B07576866F}"/>
              </a:ext>
            </a:extLst>
          </p:cNvPr>
          <p:cNvSpPr/>
          <p:nvPr/>
        </p:nvSpPr>
        <p:spPr>
          <a:xfrm>
            <a:off x="6426689" y="6003111"/>
            <a:ext cx="5821238" cy="246221"/>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DB5000"/>
                </a:solidFill>
                <a:effectLst/>
                <a:uLnTx/>
                <a:uFillTx/>
                <a:latin typeface="Lato Light" panose="020F0502020204030203"/>
                <a:ea typeface="+mn-ea"/>
                <a:cs typeface="Segoe UI" panose="020B0502040204020203" pitchFamily="34" charset="0"/>
              </a:rPr>
              <a:t>Tools in one place to get 10X productive now. </a:t>
            </a:r>
          </a:p>
        </p:txBody>
      </p:sp>
      <p:sp>
        <p:nvSpPr>
          <p:cNvPr id="19" name="TextBox 18">
            <a:extLst>
              <a:ext uri="{FF2B5EF4-FFF2-40B4-BE49-F238E27FC236}">
                <a16:creationId xmlns:a16="http://schemas.microsoft.com/office/drawing/2014/main" id="{0FAFB392-4E20-49CF-9184-35A7319B2A1C}"/>
              </a:ext>
            </a:extLst>
          </p:cNvPr>
          <p:cNvSpPr txBox="1"/>
          <p:nvPr/>
        </p:nvSpPr>
        <p:spPr>
          <a:xfrm>
            <a:off x="6278017" y="864932"/>
            <a:ext cx="5913983" cy="830997"/>
          </a:xfrm>
          <a:prstGeom prst="rect">
            <a:avLst/>
          </a:prstGeom>
          <a:noFill/>
        </p:spPr>
        <p:txBody>
          <a:bodyPr wrap="square">
            <a:spAutoFit/>
          </a:bodyPr>
          <a:lstStyle/>
          <a:p>
            <a:pPr marL="0" marR="0" lvl="0" indent="0" algn="ctr" defTabSz="43535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A4A8B"/>
                </a:solidFill>
                <a:effectLst/>
                <a:uLnTx/>
                <a:uFillTx/>
                <a:latin typeface="Lato Light" panose="020F0502020204030203"/>
                <a:ea typeface="+mn-ea"/>
                <a:cs typeface="Arial" panose="020B0604020202020204" pitchFamily="34" charset="0"/>
              </a:rPr>
              <a:t>Created by </a:t>
            </a:r>
          </a:p>
          <a:p>
            <a:pPr marL="0" marR="0" lvl="0" indent="0" algn="ctr" defTabSz="43535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A4A8B"/>
                </a:solidFill>
                <a:effectLst/>
                <a:uLnTx/>
                <a:uFillTx/>
                <a:latin typeface="Lato Light" panose="020F0502020204030203"/>
                <a:ea typeface="+mn-ea"/>
                <a:cs typeface="Arial" panose="020B0604020202020204" pitchFamily="34" charset="0"/>
              </a:rPr>
              <a:t>ex-Procter &amp; Gamble, Rothmans,  BAT, Gillette, Nokia, </a:t>
            </a:r>
          </a:p>
          <a:p>
            <a:pPr marL="0" marR="0" lvl="0" indent="0" algn="ctr" defTabSz="43535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A4A8B"/>
                </a:solidFill>
                <a:effectLst/>
                <a:uLnTx/>
                <a:uFillTx/>
                <a:latin typeface="Lato Light" panose="020F0502020204030203"/>
                <a:ea typeface="+mn-ea"/>
                <a:cs typeface="Arial" panose="020B0604020202020204" pitchFamily="34" charset="0"/>
              </a:rPr>
              <a:t>Microsoft &amp; 3M managers. </a:t>
            </a:r>
          </a:p>
        </p:txBody>
      </p:sp>
      <p:sp>
        <p:nvSpPr>
          <p:cNvPr id="2" name="Slide Number Placeholder 1">
            <a:extLst>
              <a:ext uri="{FF2B5EF4-FFF2-40B4-BE49-F238E27FC236}">
                <a16:creationId xmlns:a16="http://schemas.microsoft.com/office/drawing/2014/main" id="{263C534D-7CD7-4D0F-89BB-7C9F18C0888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8828D9-3E6A-477F-A491-AADAE3613DD2}" type="slidenum">
              <a:rPr kumimoji="0" lang="en-GB" sz="1200" b="0" i="0" u="none" strike="noStrike" kern="1200" cap="none" spc="0" normalizeH="0" baseline="0" noProof="0" smtClean="0">
                <a:ln>
                  <a:noFill/>
                </a:ln>
                <a:solidFill>
                  <a:prstClr val="black">
                    <a:tint val="75000"/>
                  </a:prstClr>
                </a:solidFill>
                <a:effectLst/>
                <a:uLnTx/>
                <a:uFillTx/>
                <a:latin typeface="Lat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dirty="0">
              <a:ln>
                <a:noFill/>
              </a:ln>
              <a:solidFill>
                <a:prstClr val="black">
                  <a:tint val="75000"/>
                </a:prstClr>
              </a:solidFill>
              <a:effectLst/>
              <a:uLnTx/>
              <a:uFillTx/>
              <a:latin typeface="Lato Light"/>
              <a:ea typeface="+mn-ea"/>
              <a:cs typeface="+mn-cs"/>
            </a:endParaRPr>
          </a:p>
        </p:txBody>
      </p:sp>
      <p:sp>
        <p:nvSpPr>
          <p:cNvPr id="3" name="Rectangle 2">
            <a:extLst>
              <a:ext uri="{FF2B5EF4-FFF2-40B4-BE49-F238E27FC236}">
                <a16:creationId xmlns:a16="http://schemas.microsoft.com/office/drawing/2014/main" id="{6B675A7B-FA23-3F3D-DE18-1C4C9A3A95A2}"/>
              </a:ext>
            </a:extLst>
          </p:cNvPr>
          <p:cNvSpPr/>
          <p:nvPr/>
        </p:nvSpPr>
        <p:spPr>
          <a:xfrm>
            <a:off x="554566" y="3005896"/>
            <a:ext cx="6519333" cy="861774"/>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83D65"/>
                </a:solidFill>
                <a:effectLst/>
                <a:uLnTx/>
                <a:uFillTx/>
                <a:latin typeface="Poppins" panose="00000500000000000000" pitchFamily="2" charset="0"/>
                <a:ea typeface="+mn-ea"/>
                <a:cs typeface="Poppins" panose="00000500000000000000" pitchFamily="2" charset="0"/>
              </a:rPr>
              <a:t>Making life </a:t>
            </a:r>
            <a:r>
              <a:rPr kumimoji="0" lang="en-US" sz="2800" b="1" i="0" u="none" strike="noStrike" kern="1200" cap="none" spc="0" normalizeH="0" baseline="0" noProof="0" dirty="0">
                <a:ln>
                  <a:noFill/>
                </a:ln>
                <a:solidFill>
                  <a:srgbClr val="EEBA00"/>
                </a:solidFill>
                <a:effectLst/>
                <a:uLnTx/>
                <a:uFillTx/>
                <a:latin typeface="Poppins" panose="00000500000000000000" pitchFamily="2" charset="0"/>
                <a:ea typeface="+mn-ea"/>
                <a:cs typeface="Poppins" panose="00000500000000000000" pitchFamily="2" charset="0"/>
              </a:rPr>
              <a:t>simpler</a:t>
            </a:r>
            <a:r>
              <a:rPr kumimoji="0" lang="en-US" sz="2800" b="1" i="0" u="none" strike="noStrike" kern="1200" cap="none" spc="0" normalizeH="0" baseline="0" noProof="0" dirty="0">
                <a:ln>
                  <a:noFill/>
                </a:ln>
                <a:solidFill>
                  <a:srgbClr val="083D65"/>
                </a:solidFill>
                <a:effectLst/>
                <a:uLnTx/>
                <a:uFillTx/>
                <a:latin typeface="Poppins" panose="00000500000000000000" pitchFamily="2" charset="0"/>
                <a:ea typeface="+mn-ea"/>
                <a:cs typeface="Poppins" panose="00000500000000000000" pitchFamily="2" charset="0"/>
              </a:rPr>
              <a:t> fo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91B5"/>
                </a:solidFill>
                <a:effectLst/>
                <a:uLnTx/>
                <a:uFillTx/>
                <a:latin typeface="Poppins" panose="00000500000000000000" pitchFamily="2" charset="0"/>
                <a:ea typeface="+mn-ea"/>
                <a:cs typeface="Poppins" panose="00000500000000000000" pitchFamily="2" charset="0"/>
              </a:rPr>
              <a:t>Sales</a:t>
            </a:r>
            <a:r>
              <a:rPr kumimoji="0" lang="en-US" sz="2800" b="1" i="0" u="none" strike="noStrike" kern="1200" cap="none" spc="0" normalizeH="0" baseline="0" noProof="0" dirty="0">
                <a:ln>
                  <a:noFill/>
                </a:ln>
                <a:solidFill>
                  <a:srgbClr val="083D65"/>
                </a:solidFill>
                <a:effectLst/>
                <a:uLnTx/>
                <a:uFillTx/>
                <a:latin typeface="Poppins" panose="00000500000000000000" pitchFamily="2" charset="0"/>
                <a:ea typeface="+mn-ea"/>
                <a:cs typeface="Poppins" panose="00000500000000000000" pitchFamily="2" charset="0"/>
              </a:rPr>
              <a:t> &amp; </a:t>
            </a:r>
            <a:r>
              <a:rPr kumimoji="0" lang="en-US" sz="2800" b="1" i="0" u="none" strike="noStrike" kern="1200" cap="none" spc="0" normalizeH="0" baseline="0" noProof="0" dirty="0">
                <a:ln>
                  <a:noFill/>
                </a:ln>
                <a:solidFill>
                  <a:srgbClr val="DB5000"/>
                </a:solidFill>
                <a:effectLst/>
                <a:uLnTx/>
                <a:uFillTx/>
                <a:latin typeface="Poppins" panose="00000500000000000000" pitchFamily="2" charset="0"/>
                <a:ea typeface="+mn-ea"/>
                <a:cs typeface="Poppins" panose="00000500000000000000" pitchFamily="2" charset="0"/>
              </a:rPr>
              <a:t>Marketing</a:t>
            </a:r>
            <a:r>
              <a:rPr kumimoji="0" lang="en-US" sz="2800" b="1" i="0" u="none" strike="noStrike" kern="1200" cap="none" spc="0" normalizeH="0" baseline="0" noProof="0" dirty="0">
                <a:ln>
                  <a:noFill/>
                </a:ln>
                <a:solidFill>
                  <a:srgbClr val="083D65"/>
                </a:solidFill>
                <a:effectLst/>
                <a:uLnTx/>
                <a:uFillTx/>
                <a:latin typeface="Poppins" panose="00000500000000000000" pitchFamily="2" charset="0"/>
                <a:ea typeface="+mn-ea"/>
                <a:cs typeface="Poppins" panose="00000500000000000000" pitchFamily="2" charset="0"/>
              </a:rPr>
              <a:t> professionals. </a:t>
            </a:r>
          </a:p>
        </p:txBody>
      </p:sp>
    </p:spTree>
    <p:extLst>
      <p:ext uri="{BB962C8B-B14F-4D97-AF65-F5344CB8AC3E}">
        <p14:creationId xmlns:p14="http://schemas.microsoft.com/office/powerpoint/2010/main" val="40259445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A43AF00-BD5A-D419-DFE6-073B2A669DD5}"/>
              </a:ext>
            </a:extLst>
          </p:cNvPr>
          <p:cNvSpPr txBox="1"/>
          <p:nvPr/>
        </p:nvSpPr>
        <p:spPr>
          <a:xfrm>
            <a:off x="116542" y="74495"/>
            <a:ext cx="10056158" cy="800219"/>
          </a:xfrm>
          <a:prstGeom prst="rect">
            <a:avLst/>
          </a:prstGeom>
          <a:solidFill>
            <a:schemeClr val="bg1"/>
          </a:solid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a:t>
            </a: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ket Specifics</a:t>
            </a:r>
          </a:p>
        </p:txBody>
      </p:sp>
      <p:pic>
        <p:nvPicPr>
          <p:cNvPr id="3" name="Picture 2" descr="Logo&#10;&#10;Description automatically generated">
            <a:extLst>
              <a:ext uri="{FF2B5EF4-FFF2-40B4-BE49-F238E27FC236}">
                <a16:creationId xmlns:a16="http://schemas.microsoft.com/office/drawing/2014/main" id="{70DE14FA-6BD3-1326-4E43-5D8A5BE1A10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4" name="Footer Placeholder 3">
            <a:extLst>
              <a:ext uri="{FF2B5EF4-FFF2-40B4-BE49-F238E27FC236}">
                <a16:creationId xmlns:a16="http://schemas.microsoft.com/office/drawing/2014/main" id="{B4F967E1-4774-9DC4-7426-D528AF360E2D}"/>
              </a:ext>
            </a:extLst>
          </p:cNvPr>
          <p:cNvSpPr>
            <a:spLocks noGrp="1"/>
          </p:cNvSpPr>
          <p:nvPr>
            <p:ph type="ftr" sz="quarter" idx="11"/>
          </p:nvPr>
        </p:nvSpPr>
        <p:spPr>
          <a:xfrm>
            <a:off x="403860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Lato Light"/>
                <a:ea typeface="+mn-ea"/>
                <a:cs typeface="+mn-cs"/>
              </a:rPr>
              <a:t>www.upskilpro.com</a:t>
            </a:r>
            <a:endParaRPr kumimoji="0" lang="en-GB" sz="1200" b="0" i="0" u="none" strike="noStrike" kern="1200" cap="none" spc="0" normalizeH="0" baseline="0" noProof="0" dirty="0">
              <a:ln>
                <a:noFill/>
              </a:ln>
              <a:solidFill>
                <a:prstClr val="black">
                  <a:tint val="75000"/>
                </a:prstClr>
              </a:solidFill>
              <a:effectLst/>
              <a:uLnTx/>
              <a:uFillTx/>
              <a:latin typeface="Lato Light"/>
              <a:ea typeface="+mn-ea"/>
              <a:cs typeface="+mn-cs"/>
            </a:endParaRPr>
          </a:p>
        </p:txBody>
      </p:sp>
      <p:graphicFrame>
        <p:nvGraphicFramePr>
          <p:cNvPr id="5" name="Table 5">
            <a:extLst>
              <a:ext uri="{FF2B5EF4-FFF2-40B4-BE49-F238E27FC236}">
                <a16:creationId xmlns:a16="http://schemas.microsoft.com/office/drawing/2014/main" id="{44F2C7DE-16E2-BFF7-1B2F-85794C3A6AEF}"/>
              </a:ext>
            </a:extLst>
          </p:cNvPr>
          <p:cNvGraphicFramePr>
            <a:graphicFrameLocks noGrp="1"/>
          </p:cNvGraphicFramePr>
          <p:nvPr/>
        </p:nvGraphicFramePr>
        <p:xfrm>
          <a:off x="689679" y="1702677"/>
          <a:ext cx="10251591" cy="2776768"/>
        </p:xfrm>
        <a:graphic>
          <a:graphicData uri="http://schemas.openxmlformats.org/drawingml/2006/table">
            <a:tbl>
              <a:tblPr firstRow="1" bandRow="1">
                <a:tableStyleId>{5C22544A-7EE6-4342-B048-85BDC9FD1C3A}</a:tableStyleId>
              </a:tblPr>
              <a:tblGrid>
                <a:gridCol w="2931886">
                  <a:extLst>
                    <a:ext uri="{9D8B030D-6E8A-4147-A177-3AD203B41FA5}">
                      <a16:colId xmlns:a16="http://schemas.microsoft.com/office/drawing/2014/main" val="1207560090"/>
                    </a:ext>
                  </a:extLst>
                </a:gridCol>
                <a:gridCol w="2391854">
                  <a:extLst>
                    <a:ext uri="{9D8B030D-6E8A-4147-A177-3AD203B41FA5}">
                      <a16:colId xmlns:a16="http://schemas.microsoft.com/office/drawing/2014/main" val="4118078510"/>
                    </a:ext>
                  </a:extLst>
                </a:gridCol>
                <a:gridCol w="2364953">
                  <a:extLst>
                    <a:ext uri="{9D8B030D-6E8A-4147-A177-3AD203B41FA5}">
                      <a16:colId xmlns:a16="http://schemas.microsoft.com/office/drawing/2014/main" val="2559892957"/>
                    </a:ext>
                  </a:extLst>
                </a:gridCol>
                <a:gridCol w="2562898">
                  <a:extLst>
                    <a:ext uri="{9D8B030D-6E8A-4147-A177-3AD203B41FA5}">
                      <a16:colId xmlns:a16="http://schemas.microsoft.com/office/drawing/2014/main" val="364046904"/>
                    </a:ext>
                  </a:extLst>
                </a:gridCol>
              </a:tblGrid>
              <a:tr h="360993">
                <a:tc>
                  <a:txBody>
                    <a:bodyPr/>
                    <a:lstStyle/>
                    <a:p>
                      <a:r>
                        <a:rPr lang="en-GB" dirty="0"/>
                        <a:t>Overview </a:t>
                      </a:r>
                    </a:p>
                  </a:txBody>
                  <a:tcPr/>
                </a:tc>
                <a:tc>
                  <a:txBody>
                    <a:bodyPr/>
                    <a:lstStyle/>
                    <a:p>
                      <a:r>
                        <a:rPr lang="en-GB" dirty="0"/>
                        <a:t>Data</a:t>
                      </a:r>
                    </a:p>
                  </a:txBody>
                  <a:tcPr/>
                </a:tc>
                <a:tc>
                  <a:txBody>
                    <a:bodyPr/>
                    <a:lstStyle/>
                    <a:p>
                      <a:r>
                        <a:rPr lang="en-GB" dirty="0"/>
                        <a:t>Commentary</a:t>
                      </a:r>
                    </a:p>
                  </a:txBody>
                  <a:tcPr/>
                </a:tc>
                <a:tc>
                  <a:txBody>
                    <a:bodyPr/>
                    <a:lstStyle/>
                    <a:p>
                      <a:r>
                        <a:rPr lang="en-GB" dirty="0"/>
                        <a:t>Basic Analysis</a:t>
                      </a:r>
                    </a:p>
                  </a:txBody>
                  <a:tcPr/>
                </a:tc>
                <a:extLst>
                  <a:ext uri="{0D108BD9-81ED-4DB2-BD59-A6C34878D82A}">
                    <a16:rowId xmlns:a16="http://schemas.microsoft.com/office/drawing/2014/main" val="385497981"/>
                  </a:ext>
                </a:extLst>
              </a:tr>
              <a:tr h="301376">
                <a:tc>
                  <a:txBody>
                    <a:bodyPr/>
                    <a:lstStyle/>
                    <a:p>
                      <a:r>
                        <a:rPr lang="en-GB" sz="1200" dirty="0"/>
                        <a:t>Business</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2428912356"/>
                  </a:ext>
                </a:extLst>
              </a:tr>
              <a:tr h="301376">
                <a:tc>
                  <a:txBody>
                    <a:bodyPr/>
                    <a:lstStyle/>
                    <a:p>
                      <a:r>
                        <a:rPr lang="en-GB" sz="1200" dirty="0"/>
                        <a:t>Brand  </a:t>
                      </a:r>
                    </a:p>
                  </a:txBody>
                  <a:tcPr>
                    <a:solidFill>
                      <a:schemeClr val="bg1">
                        <a:lumMod val="95000"/>
                      </a:schemeClr>
                    </a:solidFill>
                  </a:tcPr>
                </a:tc>
                <a:tc>
                  <a:txBody>
                    <a:bodyPr/>
                    <a:lstStyle/>
                    <a:p>
                      <a:r>
                        <a:rPr lang="en-GB" sz="1200" dirty="0"/>
                        <a:t>Market Size </a:t>
                      </a: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Competitive analysis</a:t>
                      </a:r>
                    </a:p>
                  </a:txBody>
                  <a:tcPr>
                    <a:solidFill>
                      <a:schemeClr val="bg1">
                        <a:lumMod val="95000"/>
                      </a:schemeClr>
                    </a:solidFill>
                  </a:tcPr>
                </a:tc>
                <a:tc>
                  <a:txBody>
                    <a:bodyPr/>
                    <a:lstStyle/>
                    <a:p>
                      <a:r>
                        <a:rPr lang="en-GB" sz="1200" dirty="0"/>
                        <a:t>Strengths</a:t>
                      </a:r>
                    </a:p>
                  </a:txBody>
                  <a:tcPr>
                    <a:solidFill>
                      <a:schemeClr val="bg1">
                        <a:lumMod val="95000"/>
                      </a:schemeClr>
                    </a:solidFill>
                  </a:tcPr>
                </a:tc>
                <a:extLst>
                  <a:ext uri="{0D108BD9-81ED-4DB2-BD59-A6C34878D82A}">
                    <a16:rowId xmlns:a16="http://schemas.microsoft.com/office/drawing/2014/main" val="1612073081"/>
                  </a:ext>
                </a:extLst>
              </a:tr>
              <a:tr h="3013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Category</a:t>
                      </a: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Market value </a:t>
                      </a:r>
                    </a:p>
                  </a:txBody>
                  <a:tcPr>
                    <a:solidFill>
                      <a:schemeClr val="bg1">
                        <a:lumMod val="95000"/>
                      </a:schemeClr>
                    </a:solidFill>
                  </a:tcPr>
                </a:tc>
                <a:tc>
                  <a:txBody>
                    <a:bodyPr/>
                    <a:lstStyle/>
                    <a:p>
                      <a:r>
                        <a:rPr lang="en-GB" sz="1200" dirty="0"/>
                        <a:t>Brand reviews</a:t>
                      </a:r>
                    </a:p>
                  </a:txBody>
                  <a:tcPr>
                    <a:solidFill>
                      <a:schemeClr val="bg1">
                        <a:lumMod val="95000"/>
                      </a:schemeClr>
                    </a:solidFill>
                  </a:tcPr>
                </a:tc>
                <a:tc>
                  <a:txBody>
                    <a:bodyPr/>
                    <a:lstStyle/>
                    <a:p>
                      <a:r>
                        <a:rPr lang="en-GB" sz="1200" dirty="0"/>
                        <a:t>Weaknesses </a:t>
                      </a:r>
                    </a:p>
                  </a:txBody>
                  <a:tcPr>
                    <a:solidFill>
                      <a:schemeClr val="bg1">
                        <a:lumMod val="95000"/>
                      </a:schemeClr>
                    </a:solidFill>
                  </a:tcPr>
                </a:tc>
                <a:extLst>
                  <a:ext uri="{0D108BD9-81ED-4DB2-BD59-A6C34878D82A}">
                    <a16:rowId xmlns:a16="http://schemas.microsoft.com/office/drawing/2014/main" val="118123027"/>
                  </a:ext>
                </a:extLst>
              </a:tr>
              <a:tr h="301376">
                <a:tc>
                  <a:txBody>
                    <a:bodyPr/>
                    <a:lstStyle/>
                    <a:p>
                      <a:r>
                        <a:rPr lang="en-GB" sz="1200" dirty="0"/>
                        <a:t>Account / Customers</a:t>
                      </a:r>
                    </a:p>
                  </a:txBody>
                  <a:tcPr>
                    <a:solidFill>
                      <a:schemeClr val="bg1">
                        <a:lumMod val="95000"/>
                      </a:schemeClr>
                    </a:solidFill>
                  </a:tcPr>
                </a:tc>
                <a:tc>
                  <a:txBody>
                    <a:bodyPr/>
                    <a:lstStyle/>
                    <a:p>
                      <a:r>
                        <a:rPr lang="en-GB" sz="1200" dirty="0"/>
                        <a:t>Brand Shares Volume</a:t>
                      </a:r>
                    </a:p>
                  </a:txBody>
                  <a:tcPr>
                    <a:solidFill>
                      <a:schemeClr val="bg1">
                        <a:lumMod val="95000"/>
                      </a:schemeClr>
                    </a:solidFill>
                  </a:tcPr>
                </a:tc>
                <a:tc>
                  <a:txBody>
                    <a:bodyPr/>
                    <a:lstStyle/>
                    <a:p>
                      <a:r>
                        <a:rPr lang="en-GB" sz="1200" dirty="0"/>
                        <a:t>Channel reviews </a:t>
                      </a:r>
                    </a:p>
                  </a:txBody>
                  <a:tcPr>
                    <a:solidFill>
                      <a:schemeClr val="bg1">
                        <a:lumMod val="95000"/>
                      </a:schemeClr>
                    </a:solidFill>
                  </a:tcPr>
                </a:tc>
                <a:tc>
                  <a:txBody>
                    <a:bodyPr/>
                    <a:lstStyle/>
                    <a:p>
                      <a:r>
                        <a:rPr lang="en-GB" sz="1200" dirty="0"/>
                        <a:t>Opportunities </a:t>
                      </a:r>
                    </a:p>
                  </a:txBody>
                  <a:tcPr>
                    <a:solidFill>
                      <a:schemeClr val="bg1">
                        <a:lumMod val="95000"/>
                      </a:schemeClr>
                    </a:solidFill>
                  </a:tcPr>
                </a:tc>
                <a:extLst>
                  <a:ext uri="{0D108BD9-81ED-4DB2-BD59-A6C34878D82A}">
                    <a16:rowId xmlns:a16="http://schemas.microsoft.com/office/drawing/2014/main" val="4246901403"/>
                  </a:ext>
                </a:extLst>
              </a:tr>
              <a:tr h="301376">
                <a:tc>
                  <a:txBody>
                    <a:bodyPr/>
                    <a:lstStyle/>
                    <a:p>
                      <a:r>
                        <a:rPr lang="en-GB" sz="1200" dirty="0"/>
                        <a:t>Competing brands </a:t>
                      </a:r>
                    </a:p>
                  </a:txBody>
                  <a:tcPr>
                    <a:solidFill>
                      <a:schemeClr val="bg1">
                        <a:lumMod val="95000"/>
                      </a:schemeClr>
                    </a:solidFill>
                  </a:tcPr>
                </a:tc>
                <a:tc>
                  <a:txBody>
                    <a:bodyPr/>
                    <a:lstStyle/>
                    <a:p>
                      <a:r>
                        <a:rPr lang="en-GB" sz="1200" dirty="0"/>
                        <a:t>Brand Shares in $</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r>
                        <a:rPr lang="en-GB" sz="1200" dirty="0"/>
                        <a:t>Threats</a:t>
                      </a:r>
                    </a:p>
                  </a:txBody>
                  <a:tcPr>
                    <a:solidFill>
                      <a:schemeClr val="bg1">
                        <a:lumMod val="95000"/>
                      </a:schemeClr>
                    </a:solidFill>
                  </a:tcPr>
                </a:tc>
                <a:extLst>
                  <a:ext uri="{0D108BD9-81ED-4DB2-BD59-A6C34878D82A}">
                    <a16:rowId xmlns:a16="http://schemas.microsoft.com/office/drawing/2014/main" val="1086604594"/>
                  </a:ext>
                </a:extLst>
              </a:tr>
              <a:tr h="301376">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1942931181"/>
                  </a:ext>
                </a:extLst>
              </a:tr>
              <a:tr h="301376">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2490979866"/>
                  </a:ext>
                </a:extLst>
              </a:tr>
              <a:tr h="301376">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1678758876"/>
                  </a:ext>
                </a:extLst>
              </a:tr>
            </a:tbl>
          </a:graphicData>
        </a:graphic>
      </p:graphicFrame>
      <p:sp>
        <p:nvSpPr>
          <p:cNvPr id="7" name="Rectangle 6">
            <a:extLst>
              <a:ext uri="{FF2B5EF4-FFF2-40B4-BE49-F238E27FC236}">
                <a16:creationId xmlns:a16="http://schemas.microsoft.com/office/drawing/2014/main" id="{E7054A66-440C-8443-512A-362F471E1719}"/>
              </a:ext>
            </a:extLst>
          </p:cNvPr>
          <p:cNvSpPr/>
          <p:nvPr/>
        </p:nvSpPr>
        <p:spPr>
          <a:xfrm>
            <a:off x="653143" y="4968390"/>
            <a:ext cx="8432299" cy="536028"/>
          </a:xfrm>
          <a:prstGeom prst="rect">
            <a:avLst/>
          </a:prstGeom>
          <a:solidFill>
            <a:schemeClr val="accent3">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Lato Light"/>
                <a:ea typeface="+mn-ea"/>
                <a:cs typeface="+mn-cs"/>
              </a:rPr>
              <a:t>The above pertains to useful information on one sheet as the idea of trade marketing is to review one category and brand at a time , including conflicting brands and categories into one analysis will not serve any clear purpose. </a:t>
            </a:r>
          </a:p>
        </p:txBody>
      </p:sp>
    </p:spTree>
    <p:extLst>
      <p:ext uri="{BB962C8B-B14F-4D97-AF65-F5344CB8AC3E}">
        <p14:creationId xmlns:p14="http://schemas.microsoft.com/office/powerpoint/2010/main" val="24484313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E0C8180-015B-53FD-4E6A-8FA4BC5158C7}"/>
              </a:ext>
            </a:extLst>
          </p:cNvPr>
          <p:cNvSpPr txBox="1"/>
          <p:nvPr/>
        </p:nvSpPr>
        <p:spPr>
          <a:xfrm>
            <a:off x="116542" y="74495"/>
            <a:ext cx="10056158" cy="800219"/>
          </a:xfrm>
          <a:prstGeom prst="rect">
            <a:avLst/>
          </a:prstGeom>
          <a:solidFill>
            <a:schemeClr val="bg1"/>
          </a:solid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a:t>
            </a: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ket &amp; Channel Sizing </a:t>
            </a:r>
          </a:p>
        </p:txBody>
      </p:sp>
      <p:pic>
        <p:nvPicPr>
          <p:cNvPr id="4" name="Picture 3" descr="Logo&#10;&#10;Description automatically generated">
            <a:extLst>
              <a:ext uri="{FF2B5EF4-FFF2-40B4-BE49-F238E27FC236}">
                <a16:creationId xmlns:a16="http://schemas.microsoft.com/office/drawing/2014/main" id="{E5B2D4F2-60C1-81FB-9CE5-9C0CDEAE9F1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5" name="Footer Placeholder 3">
            <a:extLst>
              <a:ext uri="{FF2B5EF4-FFF2-40B4-BE49-F238E27FC236}">
                <a16:creationId xmlns:a16="http://schemas.microsoft.com/office/drawing/2014/main" id="{99478E7F-20EB-302F-6FEB-36A18BB7AE9C}"/>
              </a:ext>
            </a:extLst>
          </p:cNvPr>
          <p:cNvSpPr>
            <a:spLocks noGrp="1"/>
          </p:cNvSpPr>
          <p:nvPr>
            <p:ph type="ftr" sz="quarter" idx="11"/>
          </p:nvPr>
        </p:nvSpPr>
        <p:spPr>
          <a:xfrm>
            <a:off x="403860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Lato Light"/>
                <a:ea typeface="+mn-ea"/>
                <a:cs typeface="+mn-cs"/>
              </a:rPr>
              <a:t>www.upskilpro.com</a:t>
            </a:r>
            <a:endParaRPr kumimoji="0" lang="en-GB" sz="1200" b="0" i="0" u="none" strike="noStrike" kern="1200" cap="none" spc="0" normalizeH="0" baseline="0" noProof="0" dirty="0">
              <a:ln>
                <a:noFill/>
              </a:ln>
              <a:solidFill>
                <a:prstClr val="black">
                  <a:tint val="75000"/>
                </a:prstClr>
              </a:solidFill>
              <a:effectLst/>
              <a:uLnTx/>
              <a:uFillTx/>
              <a:latin typeface="Lato Light"/>
              <a:ea typeface="+mn-ea"/>
              <a:cs typeface="+mn-cs"/>
            </a:endParaRPr>
          </a:p>
        </p:txBody>
      </p:sp>
      <p:graphicFrame>
        <p:nvGraphicFramePr>
          <p:cNvPr id="6" name="Table 5">
            <a:extLst>
              <a:ext uri="{FF2B5EF4-FFF2-40B4-BE49-F238E27FC236}">
                <a16:creationId xmlns:a16="http://schemas.microsoft.com/office/drawing/2014/main" id="{341381D2-16A7-39E7-0943-74D3E04D7329}"/>
              </a:ext>
            </a:extLst>
          </p:cNvPr>
          <p:cNvGraphicFramePr>
            <a:graphicFrameLocks noGrp="1"/>
          </p:cNvGraphicFramePr>
          <p:nvPr>
            <p:extLst>
              <p:ext uri="{D42A27DB-BD31-4B8C-83A1-F6EECF244321}">
                <p14:modId xmlns:p14="http://schemas.microsoft.com/office/powerpoint/2010/main" val="2229261444"/>
              </p:ext>
            </p:extLst>
          </p:nvPr>
        </p:nvGraphicFramePr>
        <p:xfrm>
          <a:off x="725714" y="1054038"/>
          <a:ext cx="10251591" cy="4431280"/>
        </p:xfrm>
        <a:graphic>
          <a:graphicData uri="http://schemas.openxmlformats.org/drawingml/2006/table">
            <a:tbl>
              <a:tblPr firstRow="1" bandRow="1">
                <a:tableStyleId>{5C22544A-7EE6-4342-B048-85BDC9FD1C3A}</a:tableStyleId>
              </a:tblPr>
              <a:tblGrid>
                <a:gridCol w="2747204">
                  <a:extLst>
                    <a:ext uri="{9D8B030D-6E8A-4147-A177-3AD203B41FA5}">
                      <a16:colId xmlns:a16="http://schemas.microsoft.com/office/drawing/2014/main" val="1207560090"/>
                    </a:ext>
                  </a:extLst>
                </a:gridCol>
                <a:gridCol w="2707165">
                  <a:extLst>
                    <a:ext uri="{9D8B030D-6E8A-4147-A177-3AD203B41FA5}">
                      <a16:colId xmlns:a16="http://schemas.microsoft.com/office/drawing/2014/main" val="4118078510"/>
                    </a:ext>
                  </a:extLst>
                </a:gridCol>
                <a:gridCol w="2234324">
                  <a:extLst>
                    <a:ext uri="{9D8B030D-6E8A-4147-A177-3AD203B41FA5}">
                      <a16:colId xmlns:a16="http://schemas.microsoft.com/office/drawing/2014/main" val="2559892957"/>
                    </a:ext>
                  </a:extLst>
                </a:gridCol>
                <a:gridCol w="2562898">
                  <a:extLst>
                    <a:ext uri="{9D8B030D-6E8A-4147-A177-3AD203B41FA5}">
                      <a16:colId xmlns:a16="http://schemas.microsoft.com/office/drawing/2014/main" val="364046904"/>
                    </a:ext>
                  </a:extLst>
                </a:gridCol>
              </a:tblGrid>
              <a:tr h="372898">
                <a:tc>
                  <a:txBody>
                    <a:bodyPr/>
                    <a:lstStyle/>
                    <a:p>
                      <a:pPr algn="ctr"/>
                      <a:r>
                        <a:rPr lang="en-GB" sz="1400" dirty="0">
                          <a:solidFill>
                            <a:schemeClr val="bg1"/>
                          </a:solidFill>
                        </a:rPr>
                        <a:t>Market </a:t>
                      </a:r>
                    </a:p>
                  </a:txBody>
                  <a:tcPr/>
                </a:tc>
                <a:tc>
                  <a:txBody>
                    <a:bodyPr/>
                    <a:lstStyle/>
                    <a:p>
                      <a:pPr algn="ctr"/>
                      <a:r>
                        <a:rPr lang="en-GB" sz="1400" dirty="0">
                          <a:solidFill>
                            <a:schemeClr val="bg1"/>
                          </a:solidFill>
                        </a:rPr>
                        <a:t>Category </a:t>
                      </a:r>
                    </a:p>
                  </a:txBody>
                  <a:tcPr/>
                </a:tc>
                <a:tc>
                  <a:txBody>
                    <a:bodyPr/>
                    <a:lstStyle/>
                    <a:p>
                      <a:pPr algn="ctr"/>
                      <a:r>
                        <a:rPr lang="en-GB" sz="1400" dirty="0">
                          <a:solidFill>
                            <a:schemeClr val="bg1"/>
                          </a:solidFill>
                        </a:rPr>
                        <a:t>Sub-Category </a:t>
                      </a:r>
                    </a:p>
                  </a:txBody>
                  <a:tcPr/>
                </a:tc>
                <a:tc>
                  <a:txBody>
                    <a:bodyPr/>
                    <a:lstStyle/>
                    <a:p>
                      <a:pPr algn="ctr"/>
                      <a:r>
                        <a:rPr lang="en-GB" sz="1400" dirty="0">
                          <a:solidFill>
                            <a:schemeClr val="bg1"/>
                          </a:solidFill>
                        </a:rPr>
                        <a:t>Brand</a:t>
                      </a:r>
                    </a:p>
                  </a:txBody>
                  <a:tcPr/>
                </a:tc>
                <a:extLst>
                  <a:ext uri="{0D108BD9-81ED-4DB2-BD59-A6C34878D82A}">
                    <a16:rowId xmlns:a16="http://schemas.microsoft.com/office/drawing/2014/main" val="81982691"/>
                  </a:ext>
                </a:extLst>
              </a:tr>
              <a:tr h="29720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FF0000"/>
                          </a:solidFill>
                        </a:rPr>
                        <a:t>Oklahoma</a:t>
                      </a:r>
                    </a:p>
                  </a:txBody>
                  <a:tcPr>
                    <a:solidFill>
                      <a:schemeClr val="bg1">
                        <a:lumMod val="95000"/>
                      </a:schemeClr>
                    </a:solidFill>
                  </a:tcPr>
                </a:tc>
                <a:tc>
                  <a:txBody>
                    <a:bodyPr/>
                    <a:lstStyle/>
                    <a:p>
                      <a:r>
                        <a:rPr lang="en-GB" sz="1200" dirty="0">
                          <a:solidFill>
                            <a:srgbClr val="FF0000"/>
                          </a:solidFill>
                        </a:rPr>
                        <a:t>Home cleaning</a:t>
                      </a:r>
                    </a:p>
                  </a:txBody>
                  <a:tcPr>
                    <a:solidFill>
                      <a:schemeClr val="bg1">
                        <a:lumMod val="95000"/>
                      </a:schemeClr>
                    </a:solidFill>
                  </a:tcPr>
                </a:tc>
                <a:tc>
                  <a:txBody>
                    <a:bodyPr/>
                    <a:lstStyle/>
                    <a:p>
                      <a:r>
                        <a:rPr lang="en-GB" sz="1200" dirty="0">
                          <a:solidFill>
                            <a:srgbClr val="FF0000"/>
                          </a:solidFill>
                        </a:rPr>
                        <a:t>Floor cleaning</a:t>
                      </a:r>
                    </a:p>
                  </a:txBody>
                  <a:tcPr>
                    <a:solidFill>
                      <a:schemeClr val="bg1">
                        <a:lumMod val="95000"/>
                      </a:schemeClr>
                    </a:solidFill>
                  </a:tcPr>
                </a:tc>
                <a:tc>
                  <a:txBody>
                    <a:bodyPr/>
                    <a:lstStyle/>
                    <a:p>
                      <a:r>
                        <a:rPr lang="en-GB" sz="1200" dirty="0">
                          <a:solidFill>
                            <a:srgbClr val="FF0000"/>
                          </a:solidFill>
                        </a:rPr>
                        <a:t>AAA &amp; BBB</a:t>
                      </a:r>
                    </a:p>
                  </a:txBody>
                  <a:tcPr>
                    <a:solidFill>
                      <a:schemeClr val="bg1">
                        <a:lumMod val="95000"/>
                      </a:schemeClr>
                    </a:solidFill>
                  </a:tcPr>
                </a:tc>
                <a:extLst>
                  <a:ext uri="{0D108BD9-81ED-4DB2-BD59-A6C34878D82A}">
                    <a16:rowId xmlns:a16="http://schemas.microsoft.com/office/drawing/2014/main" val="3073184419"/>
                  </a:ext>
                </a:extLst>
              </a:tr>
              <a:tr h="29720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srgbClr val="FF0000"/>
                        </a:solidFill>
                      </a:endParaRPr>
                    </a:p>
                  </a:txBody>
                  <a:tcPr>
                    <a:solidFill>
                      <a:schemeClr val="bg1">
                        <a:lumMod val="95000"/>
                      </a:schemeClr>
                    </a:solidFill>
                  </a:tcPr>
                </a:tc>
                <a:tc>
                  <a:txBody>
                    <a:bodyPr/>
                    <a:lstStyle/>
                    <a:p>
                      <a:endParaRPr lang="en-GB" sz="1200" dirty="0">
                        <a:solidFill>
                          <a:srgbClr val="FF0000"/>
                        </a:solidFill>
                      </a:endParaRPr>
                    </a:p>
                  </a:txBody>
                  <a:tcPr>
                    <a:solidFill>
                      <a:schemeClr val="bg1">
                        <a:lumMod val="95000"/>
                      </a:schemeClr>
                    </a:solidFill>
                  </a:tcPr>
                </a:tc>
                <a:tc>
                  <a:txBody>
                    <a:bodyPr/>
                    <a:lstStyle/>
                    <a:p>
                      <a:endParaRPr lang="en-GB" sz="1200" dirty="0">
                        <a:solidFill>
                          <a:srgbClr val="FF0000"/>
                        </a:solidFill>
                      </a:endParaRPr>
                    </a:p>
                  </a:txBody>
                  <a:tcPr>
                    <a:solidFill>
                      <a:schemeClr val="bg1">
                        <a:lumMod val="95000"/>
                      </a:schemeClr>
                    </a:solidFill>
                  </a:tcPr>
                </a:tc>
                <a:tc>
                  <a:txBody>
                    <a:bodyPr/>
                    <a:lstStyle/>
                    <a:p>
                      <a:endParaRPr lang="en-GB" sz="1200" dirty="0">
                        <a:solidFill>
                          <a:srgbClr val="FF0000"/>
                        </a:solidFill>
                      </a:endParaRPr>
                    </a:p>
                  </a:txBody>
                  <a:tcPr>
                    <a:solidFill>
                      <a:schemeClr val="bg1">
                        <a:lumMod val="95000"/>
                      </a:schemeClr>
                    </a:solidFill>
                  </a:tcPr>
                </a:tc>
                <a:extLst>
                  <a:ext uri="{0D108BD9-81ED-4DB2-BD59-A6C34878D82A}">
                    <a16:rowId xmlns:a16="http://schemas.microsoft.com/office/drawing/2014/main" val="816221093"/>
                  </a:ext>
                </a:extLst>
              </a:tr>
              <a:tr h="297206">
                <a:tc>
                  <a:txBody>
                    <a:bodyPr/>
                    <a:lstStyle/>
                    <a:p>
                      <a:endParaRPr lang="en-GB" sz="1200" dirty="0">
                        <a:solidFill>
                          <a:srgbClr val="FF0000"/>
                        </a:solidFill>
                      </a:endParaRPr>
                    </a:p>
                  </a:txBody>
                  <a:tcPr>
                    <a:solidFill>
                      <a:schemeClr val="bg1">
                        <a:lumMod val="95000"/>
                      </a:schemeClr>
                    </a:solidFill>
                  </a:tcPr>
                </a:tc>
                <a:tc>
                  <a:txBody>
                    <a:bodyPr/>
                    <a:lstStyle/>
                    <a:p>
                      <a:pPr algn="l"/>
                      <a:endParaRPr lang="en-GB" sz="1200" dirty="0">
                        <a:solidFill>
                          <a:srgbClr val="FF0000"/>
                        </a:solidFill>
                      </a:endParaRPr>
                    </a:p>
                  </a:txBody>
                  <a:tcPr>
                    <a:solidFill>
                      <a:schemeClr val="bg1">
                        <a:lumMod val="95000"/>
                      </a:schemeClr>
                    </a:solidFill>
                  </a:tcPr>
                </a:tc>
                <a:tc>
                  <a:txBody>
                    <a:bodyPr/>
                    <a:lstStyle/>
                    <a:p>
                      <a:pPr algn="ctr"/>
                      <a:endParaRPr lang="en-GB" sz="1200" dirty="0">
                        <a:solidFill>
                          <a:srgbClr val="FF0000"/>
                        </a:solidFill>
                      </a:endParaRPr>
                    </a:p>
                  </a:txBody>
                  <a:tcPr>
                    <a:solidFill>
                      <a:schemeClr val="bg1">
                        <a:lumMod val="95000"/>
                      </a:schemeClr>
                    </a:solidFill>
                  </a:tcPr>
                </a:tc>
                <a:tc>
                  <a:txBody>
                    <a:bodyPr/>
                    <a:lstStyle/>
                    <a:p>
                      <a:pPr algn="ctr"/>
                      <a:endParaRPr lang="en-GB" sz="1200" dirty="0">
                        <a:solidFill>
                          <a:srgbClr val="FF0000"/>
                        </a:solidFill>
                      </a:endParaRPr>
                    </a:p>
                  </a:txBody>
                  <a:tcPr>
                    <a:solidFill>
                      <a:schemeClr val="bg1">
                        <a:lumMod val="95000"/>
                      </a:schemeClr>
                    </a:solidFill>
                  </a:tcPr>
                </a:tc>
                <a:extLst>
                  <a:ext uri="{0D108BD9-81ED-4DB2-BD59-A6C34878D82A}">
                    <a16:rowId xmlns:a16="http://schemas.microsoft.com/office/drawing/2014/main" val="1130243688"/>
                  </a:ext>
                </a:extLst>
              </a:tr>
              <a:tr h="297206">
                <a:tc>
                  <a:txBody>
                    <a:bodyPr/>
                    <a:lstStyle/>
                    <a:p>
                      <a:endParaRPr lang="en-GB" sz="1200" dirty="0"/>
                    </a:p>
                  </a:txBody>
                  <a:tcPr>
                    <a:solidFill>
                      <a:schemeClr val="bg1">
                        <a:lumMod val="95000"/>
                      </a:schemeClr>
                    </a:solidFill>
                  </a:tcPr>
                </a:tc>
                <a:tc>
                  <a:txBody>
                    <a:bodyPr/>
                    <a:lstStyle/>
                    <a:p>
                      <a:pPr algn="ctr"/>
                      <a:r>
                        <a:rPr lang="en-GB" sz="1200" dirty="0">
                          <a:solidFill>
                            <a:schemeClr val="bg1"/>
                          </a:solidFill>
                        </a:rPr>
                        <a:t>Previous year </a:t>
                      </a:r>
                    </a:p>
                  </a:txBody>
                  <a:tcPr>
                    <a:solidFill>
                      <a:schemeClr val="accent1"/>
                    </a:solidFill>
                  </a:tcPr>
                </a:tc>
                <a:tc>
                  <a:txBody>
                    <a:bodyPr/>
                    <a:lstStyle/>
                    <a:p>
                      <a:pPr algn="ctr"/>
                      <a:r>
                        <a:rPr lang="en-GB" sz="1200" dirty="0">
                          <a:solidFill>
                            <a:schemeClr val="bg1"/>
                          </a:solidFill>
                        </a:rPr>
                        <a:t>Last Year </a:t>
                      </a:r>
                    </a:p>
                  </a:txBody>
                  <a:tcPr>
                    <a:solidFill>
                      <a:schemeClr val="accent1"/>
                    </a:solidFill>
                  </a:tcPr>
                </a:tc>
                <a:tc>
                  <a:txBody>
                    <a:bodyPr/>
                    <a:lstStyle/>
                    <a:p>
                      <a:pPr algn="ctr"/>
                      <a:r>
                        <a:rPr lang="en-GB" sz="1200" dirty="0">
                          <a:solidFill>
                            <a:schemeClr val="bg1"/>
                          </a:solidFill>
                        </a:rPr>
                        <a:t>This Year </a:t>
                      </a:r>
                    </a:p>
                  </a:txBody>
                  <a:tcPr>
                    <a:solidFill>
                      <a:schemeClr val="accent1"/>
                    </a:solidFill>
                  </a:tcPr>
                </a:tc>
                <a:extLst>
                  <a:ext uri="{0D108BD9-81ED-4DB2-BD59-A6C34878D82A}">
                    <a16:rowId xmlns:a16="http://schemas.microsoft.com/office/drawing/2014/main" val="2574141459"/>
                  </a:ext>
                </a:extLst>
              </a:tr>
              <a:tr h="29720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t>Category size </a:t>
                      </a:r>
                    </a:p>
                  </a:txBody>
                  <a:tcPr>
                    <a:solidFill>
                      <a:schemeClr val="bg1">
                        <a:lumMod val="95000"/>
                      </a:schemeClr>
                    </a:solidFill>
                  </a:tcPr>
                </a:tc>
                <a:tc>
                  <a:txBody>
                    <a:bodyPr/>
                    <a:lstStyle/>
                    <a:p>
                      <a:r>
                        <a:rPr lang="en-GB" sz="1200" dirty="0"/>
                        <a:t>459 mn $</a:t>
                      </a:r>
                    </a:p>
                  </a:txBody>
                  <a:tcPr>
                    <a:solidFill>
                      <a:schemeClr val="bg1">
                        <a:lumMod val="95000"/>
                      </a:schemeClr>
                    </a:solidFill>
                  </a:tcPr>
                </a:tc>
                <a:tc>
                  <a:txBody>
                    <a:bodyPr/>
                    <a:lstStyle/>
                    <a:p>
                      <a:r>
                        <a:rPr lang="en-GB" sz="1200" dirty="0"/>
                        <a:t>512 mn $</a:t>
                      </a:r>
                    </a:p>
                  </a:txBody>
                  <a:tcPr>
                    <a:solidFill>
                      <a:schemeClr val="bg1">
                        <a:lumMod val="95000"/>
                      </a:schemeClr>
                    </a:solidFill>
                  </a:tcPr>
                </a:tc>
                <a:tc>
                  <a:txBody>
                    <a:bodyPr/>
                    <a:lstStyle/>
                    <a:p>
                      <a:r>
                        <a:rPr lang="en-GB" sz="1200" dirty="0"/>
                        <a:t>569Mn$</a:t>
                      </a:r>
                    </a:p>
                  </a:txBody>
                  <a:tcPr>
                    <a:solidFill>
                      <a:schemeClr val="bg1">
                        <a:lumMod val="95000"/>
                      </a:schemeClr>
                    </a:solidFill>
                  </a:tcPr>
                </a:tc>
                <a:extLst>
                  <a:ext uri="{0D108BD9-81ED-4DB2-BD59-A6C34878D82A}">
                    <a16:rowId xmlns:a16="http://schemas.microsoft.com/office/drawing/2014/main" val="385497981"/>
                  </a:ext>
                </a:extLst>
              </a:tr>
              <a:tr h="321544">
                <a:tc>
                  <a:txBody>
                    <a:bodyPr/>
                    <a:lstStyle/>
                    <a:p>
                      <a:r>
                        <a:rPr lang="en-GB" sz="1200" b="1" dirty="0"/>
                        <a:t>Customer Size / Turnover </a:t>
                      </a:r>
                    </a:p>
                  </a:txBody>
                  <a:tcPr>
                    <a:solidFill>
                      <a:schemeClr val="bg1">
                        <a:lumMod val="95000"/>
                      </a:schemeClr>
                    </a:solidFill>
                  </a:tcPr>
                </a:tc>
                <a:tc>
                  <a:txBody>
                    <a:bodyPr/>
                    <a:lstStyle/>
                    <a:p>
                      <a:r>
                        <a:rPr lang="en-GB" sz="1200" dirty="0"/>
                        <a:t>35.00 Mn $</a:t>
                      </a:r>
                    </a:p>
                  </a:txBody>
                  <a:tcPr>
                    <a:solidFill>
                      <a:schemeClr val="bg1">
                        <a:lumMod val="95000"/>
                      </a:schemeClr>
                    </a:solidFill>
                  </a:tcPr>
                </a:tc>
                <a:tc>
                  <a:txBody>
                    <a:bodyPr/>
                    <a:lstStyle/>
                    <a:p>
                      <a:r>
                        <a:rPr lang="en-GB" sz="1200" dirty="0"/>
                        <a:t>36.9mn$</a:t>
                      </a:r>
                    </a:p>
                  </a:txBody>
                  <a:tcPr>
                    <a:solidFill>
                      <a:schemeClr val="bg1">
                        <a:lumMod val="95000"/>
                      </a:schemeClr>
                    </a:solidFill>
                  </a:tcPr>
                </a:tc>
                <a:tc>
                  <a:txBody>
                    <a:bodyPr/>
                    <a:lstStyle/>
                    <a:p>
                      <a:r>
                        <a:rPr lang="en-GB" sz="1200" dirty="0"/>
                        <a:t>39.1 Mn $ ( Est ) </a:t>
                      </a:r>
                    </a:p>
                  </a:txBody>
                  <a:tcPr>
                    <a:solidFill>
                      <a:schemeClr val="bg1">
                        <a:lumMod val="95000"/>
                      </a:schemeClr>
                    </a:solidFill>
                  </a:tcPr>
                </a:tc>
                <a:extLst>
                  <a:ext uri="{0D108BD9-81ED-4DB2-BD59-A6C34878D82A}">
                    <a16:rowId xmlns:a16="http://schemas.microsoft.com/office/drawing/2014/main" val="2428912356"/>
                  </a:ext>
                </a:extLst>
              </a:tr>
              <a:tr h="321544">
                <a:tc>
                  <a:txBody>
                    <a:bodyPr/>
                    <a:lstStyle/>
                    <a:p>
                      <a:r>
                        <a:rPr lang="en-GB" sz="1200" b="1" dirty="0"/>
                        <a:t>Competing Brands </a:t>
                      </a:r>
                    </a:p>
                  </a:txBody>
                  <a:tcPr>
                    <a:solidFill>
                      <a:schemeClr val="bg1">
                        <a:lumMod val="95000"/>
                      </a:schemeClr>
                    </a:solidFill>
                  </a:tcPr>
                </a:tc>
                <a:tc>
                  <a:txBody>
                    <a:bodyPr/>
                    <a:lstStyle/>
                    <a:p>
                      <a:r>
                        <a:rPr lang="en-GB" sz="1200" dirty="0"/>
                        <a:t>None </a:t>
                      </a: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Competing brand XX</a:t>
                      </a:r>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1612073081"/>
                  </a:ext>
                </a:extLst>
              </a:tr>
              <a:tr h="321544">
                <a:tc>
                  <a:txBody>
                    <a:bodyPr/>
                    <a:lstStyle/>
                    <a:p>
                      <a:r>
                        <a:rPr lang="en-GB" sz="1200" b="1" dirty="0"/>
                        <a:t>Dominant Channels </a:t>
                      </a:r>
                    </a:p>
                  </a:txBody>
                  <a:tcPr>
                    <a:solidFill>
                      <a:schemeClr val="bg1">
                        <a:lumMod val="95000"/>
                      </a:schemeClr>
                    </a:solidFill>
                  </a:tcPr>
                </a:tc>
                <a:tc>
                  <a:txBody>
                    <a:bodyPr/>
                    <a:lstStyle/>
                    <a:p>
                      <a:r>
                        <a:rPr lang="en-GB" sz="1200" dirty="0"/>
                        <a:t>Garages &amp; Dealerships  </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4246901403"/>
                  </a:ext>
                </a:extLst>
              </a:tr>
              <a:tr h="321544">
                <a:tc>
                  <a:txBody>
                    <a:bodyPr/>
                    <a:lstStyle/>
                    <a:p>
                      <a:r>
                        <a:rPr lang="en-GB" sz="1200" b="1" dirty="0"/>
                        <a:t>Support channels </a:t>
                      </a:r>
                    </a:p>
                  </a:txBody>
                  <a:tcPr>
                    <a:solidFill>
                      <a:schemeClr val="bg1">
                        <a:lumMod val="95000"/>
                      </a:schemeClr>
                    </a:solidFill>
                  </a:tcPr>
                </a:tc>
                <a:tc>
                  <a:txBody>
                    <a:bodyPr/>
                    <a:lstStyle/>
                    <a:p>
                      <a:r>
                        <a:rPr lang="en-GB" sz="1200" dirty="0"/>
                        <a:t>DIY</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1086604594"/>
                  </a:ext>
                </a:extLst>
              </a:tr>
              <a:tr h="321544">
                <a:tc>
                  <a:txBody>
                    <a:bodyPr/>
                    <a:lstStyle/>
                    <a:p>
                      <a:r>
                        <a:rPr lang="en-GB" sz="1200" b="1" dirty="0"/>
                        <a:t>Category size in units</a:t>
                      </a:r>
                    </a:p>
                  </a:txBody>
                  <a:tcPr>
                    <a:solidFill>
                      <a:schemeClr val="bg1">
                        <a:lumMod val="95000"/>
                      </a:schemeClr>
                    </a:solidFill>
                  </a:tcPr>
                </a:tc>
                <a:tc>
                  <a:txBody>
                    <a:bodyPr/>
                    <a:lstStyle/>
                    <a:p>
                      <a:r>
                        <a:rPr lang="en-GB" sz="1200" dirty="0"/>
                        <a:t>75,000</a:t>
                      </a:r>
                    </a:p>
                  </a:txBody>
                  <a:tcPr>
                    <a:solidFill>
                      <a:schemeClr val="bg1">
                        <a:lumMod val="95000"/>
                      </a:schemeClr>
                    </a:solidFill>
                  </a:tcPr>
                </a:tc>
                <a:tc>
                  <a:txBody>
                    <a:bodyPr/>
                    <a:lstStyle/>
                    <a:p>
                      <a:r>
                        <a:rPr lang="en-GB" sz="1200" dirty="0"/>
                        <a:t>82500</a:t>
                      </a:r>
                    </a:p>
                  </a:txBody>
                  <a:tcPr>
                    <a:solidFill>
                      <a:schemeClr val="bg1">
                        <a:lumMod val="95000"/>
                      </a:schemeClr>
                    </a:solidFill>
                  </a:tcPr>
                </a:tc>
                <a:tc>
                  <a:txBody>
                    <a:bodyPr/>
                    <a:lstStyle/>
                    <a:p>
                      <a:r>
                        <a:rPr lang="en-GB" sz="1200" dirty="0"/>
                        <a:t>90150 Est</a:t>
                      </a:r>
                    </a:p>
                  </a:txBody>
                  <a:tcPr>
                    <a:solidFill>
                      <a:schemeClr val="bg1">
                        <a:lumMod val="95000"/>
                      </a:schemeClr>
                    </a:solidFill>
                  </a:tcPr>
                </a:tc>
                <a:extLst>
                  <a:ext uri="{0D108BD9-81ED-4DB2-BD59-A6C34878D82A}">
                    <a16:rowId xmlns:a16="http://schemas.microsoft.com/office/drawing/2014/main" val="1942931181"/>
                  </a:ext>
                </a:extLst>
              </a:tr>
              <a:tr h="321544">
                <a:tc>
                  <a:txBody>
                    <a:bodyPr/>
                    <a:lstStyle/>
                    <a:p>
                      <a:r>
                        <a:rPr lang="en-GB" sz="1200" b="1" dirty="0"/>
                        <a:t>Category size in $</a:t>
                      </a:r>
                    </a:p>
                  </a:txBody>
                  <a:tcPr>
                    <a:solidFill>
                      <a:schemeClr val="bg1">
                        <a:lumMod val="95000"/>
                      </a:schemeClr>
                    </a:solidFill>
                  </a:tcPr>
                </a:tc>
                <a:tc>
                  <a:txBody>
                    <a:bodyPr/>
                    <a:lstStyle/>
                    <a:p>
                      <a:r>
                        <a:rPr lang="en-GB" sz="1200" dirty="0"/>
                        <a:t>459 mn $</a:t>
                      </a:r>
                    </a:p>
                  </a:txBody>
                  <a:tcPr>
                    <a:solidFill>
                      <a:schemeClr val="bg1">
                        <a:lumMod val="95000"/>
                      </a:schemeClr>
                    </a:solidFill>
                  </a:tcPr>
                </a:tc>
                <a:tc>
                  <a:txBody>
                    <a:bodyPr/>
                    <a:lstStyle/>
                    <a:p>
                      <a:r>
                        <a:rPr lang="en-GB" sz="1200" dirty="0"/>
                        <a:t>512 mn $</a:t>
                      </a:r>
                    </a:p>
                  </a:txBody>
                  <a:tcPr>
                    <a:solidFill>
                      <a:schemeClr val="bg1">
                        <a:lumMod val="95000"/>
                      </a:schemeClr>
                    </a:solidFill>
                  </a:tcPr>
                </a:tc>
                <a:tc>
                  <a:txBody>
                    <a:bodyPr/>
                    <a:lstStyle/>
                    <a:p>
                      <a:r>
                        <a:rPr lang="en-GB" sz="1200" dirty="0"/>
                        <a:t>529Mn$</a:t>
                      </a:r>
                    </a:p>
                  </a:txBody>
                  <a:tcPr>
                    <a:solidFill>
                      <a:schemeClr val="bg1">
                        <a:lumMod val="95000"/>
                      </a:schemeClr>
                    </a:solidFill>
                  </a:tcPr>
                </a:tc>
                <a:extLst>
                  <a:ext uri="{0D108BD9-81ED-4DB2-BD59-A6C34878D82A}">
                    <a16:rowId xmlns:a16="http://schemas.microsoft.com/office/drawing/2014/main" val="2490979866"/>
                  </a:ext>
                </a:extLst>
              </a:tr>
              <a:tr h="321544">
                <a:tc>
                  <a:txBody>
                    <a:bodyPr/>
                    <a:lstStyle/>
                    <a:p>
                      <a:r>
                        <a:rPr lang="en-GB" sz="1200" b="1" dirty="0"/>
                        <a:t>Brand shares in $</a:t>
                      </a:r>
                    </a:p>
                  </a:txBody>
                  <a:tcPr>
                    <a:solidFill>
                      <a:schemeClr val="bg1">
                        <a:lumMod val="95000"/>
                      </a:schemeClr>
                    </a:solidFill>
                  </a:tcPr>
                </a:tc>
                <a:tc>
                  <a:txBody>
                    <a:bodyPr/>
                    <a:lstStyle/>
                    <a:p>
                      <a:r>
                        <a:rPr lang="en-GB" sz="1200" dirty="0"/>
                        <a:t>7.6%</a:t>
                      </a:r>
                    </a:p>
                  </a:txBody>
                  <a:tcPr>
                    <a:solidFill>
                      <a:schemeClr val="bg1">
                        <a:lumMod val="95000"/>
                      </a:schemeClr>
                    </a:solidFill>
                  </a:tcPr>
                </a:tc>
                <a:tc>
                  <a:txBody>
                    <a:bodyPr/>
                    <a:lstStyle/>
                    <a:p>
                      <a:r>
                        <a:rPr lang="en-GB" sz="1200" dirty="0"/>
                        <a:t>7.20 %</a:t>
                      </a:r>
                    </a:p>
                  </a:txBody>
                  <a:tcPr>
                    <a:solidFill>
                      <a:schemeClr val="bg1">
                        <a:lumMod val="95000"/>
                      </a:schemeClr>
                    </a:solidFill>
                  </a:tcPr>
                </a:tc>
                <a:tc>
                  <a:txBody>
                    <a:bodyPr/>
                    <a:lstStyle/>
                    <a:p>
                      <a:r>
                        <a:rPr lang="en-GB" sz="1200" dirty="0"/>
                        <a:t>7.39%</a:t>
                      </a:r>
                    </a:p>
                  </a:txBody>
                  <a:tcPr>
                    <a:solidFill>
                      <a:schemeClr val="bg1">
                        <a:lumMod val="95000"/>
                      </a:schemeClr>
                    </a:solidFill>
                  </a:tcPr>
                </a:tc>
                <a:extLst>
                  <a:ext uri="{0D108BD9-81ED-4DB2-BD59-A6C34878D82A}">
                    <a16:rowId xmlns:a16="http://schemas.microsoft.com/office/drawing/2014/main" val="1452815385"/>
                  </a:ext>
                </a:extLst>
              </a:tr>
              <a:tr h="321544">
                <a:tc>
                  <a:txBody>
                    <a:bodyPr/>
                    <a:lstStyle/>
                    <a:p>
                      <a:r>
                        <a:rPr lang="en-GB" sz="1200" b="1" dirty="0"/>
                        <a:t>Brand shares in %</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1678758876"/>
                  </a:ext>
                </a:extLst>
              </a:tr>
            </a:tbl>
          </a:graphicData>
        </a:graphic>
      </p:graphicFrame>
    </p:spTree>
    <p:extLst>
      <p:ext uri="{BB962C8B-B14F-4D97-AF65-F5344CB8AC3E}">
        <p14:creationId xmlns:p14="http://schemas.microsoft.com/office/powerpoint/2010/main" val="123631305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93DAC30-365D-2AA0-86B1-81B499F77B92}"/>
              </a:ext>
            </a:extLst>
          </p:cNvPr>
          <p:cNvSpPr txBox="1"/>
          <p:nvPr/>
        </p:nvSpPr>
        <p:spPr>
          <a:xfrm>
            <a:off x="116542" y="74495"/>
            <a:ext cx="10056158" cy="800219"/>
          </a:xfrm>
          <a:prstGeom prst="rect">
            <a:avLst/>
          </a:prstGeom>
          <a:solidFill>
            <a:schemeClr val="bg1"/>
          </a:solid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a:t>
            </a: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Key Opportunities identified </a:t>
            </a:r>
          </a:p>
        </p:txBody>
      </p:sp>
      <p:pic>
        <p:nvPicPr>
          <p:cNvPr id="4" name="Picture 3" descr="Logo&#10;&#10;Description automatically generated">
            <a:extLst>
              <a:ext uri="{FF2B5EF4-FFF2-40B4-BE49-F238E27FC236}">
                <a16:creationId xmlns:a16="http://schemas.microsoft.com/office/drawing/2014/main" id="{D942C356-FACC-0CBC-7272-3911F653FAD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5" name="Footer Placeholder 3">
            <a:extLst>
              <a:ext uri="{FF2B5EF4-FFF2-40B4-BE49-F238E27FC236}">
                <a16:creationId xmlns:a16="http://schemas.microsoft.com/office/drawing/2014/main" id="{7EA9C3A5-CBB4-9CBA-294C-E4383FE3ABDF}"/>
              </a:ext>
            </a:extLst>
          </p:cNvPr>
          <p:cNvSpPr>
            <a:spLocks noGrp="1"/>
          </p:cNvSpPr>
          <p:nvPr>
            <p:ph type="ftr" sz="quarter" idx="11"/>
          </p:nvPr>
        </p:nvSpPr>
        <p:spPr>
          <a:xfrm>
            <a:off x="403860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Lato Light"/>
                <a:ea typeface="+mn-ea"/>
                <a:cs typeface="+mn-cs"/>
              </a:rPr>
              <a:t>www.upskilpro.com</a:t>
            </a:r>
            <a:endParaRPr kumimoji="0" lang="en-GB" sz="1200" b="0" i="0" u="none" strike="noStrike" kern="1200" cap="none" spc="0" normalizeH="0" baseline="0" noProof="0" dirty="0">
              <a:ln>
                <a:noFill/>
              </a:ln>
              <a:solidFill>
                <a:prstClr val="black">
                  <a:tint val="75000"/>
                </a:prstClr>
              </a:solidFill>
              <a:effectLst/>
              <a:uLnTx/>
              <a:uFillTx/>
              <a:latin typeface="Lato Light"/>
              <a:ea typeface="+mn-ea"/>
              <a:cs typeface="+mn-cs"/>
            </a:endParaRPr>
          </a:p>
        </p:txBody>
      </p:sp>
      <p:graphicFrame>
        <p:nvGraphicFramePr>
          <p:cNvPr id="6" name="Table 5">
            <a:extLst>
              <a:ext uri="{FF2B5EF4-FFF2-40B4-BE49-F238E27FC236}">
                <a16:creationId xmlns:a16="http://schemas.microsoft.com/office/drawing/2014/main" id="{CE688429-C1A8-1E8A-E7C7-8A7BC0F38E49}"/>
              </a:ext>
            </a:extLst>
          </p:cNvPr>
          <p:cNvGraphicFramePr>
            <a:graphicFrameLocks noGrp="1"/>
          </p:cNvGraphicFramePr>
          <p:nvPr/>
        </p:nvGraphicFramePr>
        <p:xfrm>
          <a:off x="1216106" y="939233"/>
          <a:ext cx="10251591" cy="5493264"/>
        </p:xfrm>
        <a:graphic>
          <a:graphicData uri="http://schemas.openxmlformats.org/drawingml/2006/table">
            <a:tbl>
              <a:tblPr firstRow="1" bandRow="1">
                <a:tableStyleId>{5C22544A-7EE6-4342-B048-85BDC9FD1C3A}</a:tableStyleId>
              </a:tblPr>
              <a:tblGrid>
                <a:gridCol w="2747204">
                  <a:extLst>
                    <a:ext uri="{9D8B030D-6E8A-4147-A177-3AD203B41FA5}">
                      <a16:colId xmlns:a16="http://schemas.microsoft.com/office/drawing/2014/main" val="1207560090"/>
                    </a:ext>
                  </a:extLst>
                </a:gridCol>
                <a:gridCol w="1697751">
                  <a:extLst>
                    <a:ext uri="{9D8B030D-6E8A-4147-A177-3AD203B41FA5}">
                      <a16:colId xmlns:a16="http://schemas.microsoft.com/office/drawing/2014/main" val="4118078510"/>
                    </a:ext>
                  </a:extLst>
                </a:gridCol>
                <a:gridCol w="1859622">
                  <a:extLst>
                    <a:ext uri="{9D8B030D-6E8A-4147-A177-3AD203B41FA5}">
                      <a16:colId xmlns:a16="http://schemas.microsoft.com/office/drawing/2014/main" val="2559892957"/>
                    </a:ext>
                  </a:extLst>
                </a:gridCol>
                <a:gridCol w="1973507">
                  <a:extLst>
                    <a:ext uri="{9D8B030D-6E8A-4147-A177-3AD203B41FA5}">
                      <a16:colId xmlns:a16="http://schemas.microsoft.com/office/drawing/2014/main" val="364046904"/>
                    </a:ext>
                  </a:extLst>
                </a:gridCol>
                <a:gridCol w="1973507">
                  <a:extLst>
                    <a:ext uri="{9D8B030D-6E8A-4147-A177-3AD203B41FA5}">
                      <a16:colId xmlns:a16="http://schemas.microsoft.com/office/drawing/2014/main" val="2006399868"/>
                    </a:ext>
                  </a:extLst>
                </a:gridCol>
              </a:tblGrid>
              <a:tr h="372898">
                <a:tc>
                  <a:txBody>
                    <a:bodyPr/>
                    <a:lstStyle/>
                    <a:p>
                      <a:r>
                        <a:rPr lang="en-GB" dirty="0"/>
                        <a:t>Business</a:t>
                      </a:r>
                    </a:p>
                  </a:txBody>
                  <a:tcPr/>
                </a:tc>
                <a:tc>
                  <a:txBody>
                    <a:bodyPr/>
                    <a:lstStyle/>
                    <a:p>
                      <a:pPr algn="ctr"/>
                      <a:r>
                        <a:rPr lang="en-GB" dirty="0"/>
                        <a:t>Brand </a:t>
                      </a:r>
                    </a:p>
                  </a:txBody>
                  <a:tcPr/>
                </a:tc>
                <a:tc>
                  <a:txBody>
                    <a:bodyPr/>
                    <a:lstStyle/>
                    <a:p>
                      <a:pPr algn="ctr"/>
                      <a:r>
                        <a:rPr lang="en-GB" dirty="0"/>
                        <a:t>Channel </a:t>
                      </a:r>
                    </a:p>
                  </a:txBody>
                  <a:tcPr/>
                </a:tc>
                <a:tc>
                  <a:txBody>
                    <a:bodyPr/>
                    <a:lstStyle/>
                    <a:p>
                      <a:pPr algn="ctr"/>
                      <a:r>
                        <a:rPr lang="en-GB" dirty="0"/>
                        <a:t>Category </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dirty="0"/>
                        <a:t>Customer </a:t>
                      </a:r>
                    </a:p>
                  </a:txBody>
                  <a:tcPr/>
                </a:tc>
                <a:extLst>
                  <a:ext uri="{0D108BD9-81ED-4DB2-BD59-A6C34878D82A}">
                    <a16:rowId xmlns:a16="http://schemas.microsoft.com/office/drawing/2014/main" val="81982691"/>
                  </a:ext>
                </a:extLst>
              </a:tr>
              <a:tr h="297206">
                <a:tc>
                  <a:txBody>
                    <a:bodyPr/>
                    <a:lstStyle/>
                    <a:p>
                      <a:pPr algn="l"/>
                      <a:r>
                        <a:rPr lang="en-GB" sz="1200" b="1" dirty="0"/>
                        <a:t>Brand Share</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385497981"/>
                  </a:ext>
                </a:extLst>
              </a:tr>
              <a:tr h="321544">
                <a:tc>
                  <a:txBody>
                    <a:bodyPr/>
                    <a:lstStyle/>
                    <a:p>
                      <a:pPr algn="l"/>
                      <a:r>
                        <a:rPr lang="en-GB" sz="1200" b="1" dirty="0"/>
                        <a:t>Distribution Gaps </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2428912356"/>
                  </a:ext>
                </a:extLst>
              </a:tr>
              <a:tr h="321544">
                <a:tc>
                  <a:txBody>
                    <a:bodyPr/>
                    <a:lstStyle/>
                    <a:p>
                      <a:pPr algn="l"/>
                      <a:r>
                        <a:rPr lang="en-GB" sz="1200" b="1" dirty="0"/>
                        <a:t>Pricing</a:t>
                      </a:r>
                    </a:p>
                  </a:txBody>
                  <a:tcPr>
                    <a:solidFill>
                      <a:schemeClr val="bg1">
                        <a:lumMod val="95000"/>
                      </a:schemeClr>
                    </a:solidFill>
                  </a:tcPr>
                </a:tc>
                <a:tc>
                  <a:txBody>
                    <a:bodyPr/>
                    <a:lstStyle/>
                    <a:p>
                      <a:pPr marL="0" algn="l" defTabSz="914400" rtl="0" eaLnBrk="1" latinLnBrk="0" hangingPunct="1"/>
                      <a:endParaRPr lang="en-GB" sz="1200" kern="1200" dirty="0">
                        <a:solidFill>
                          <a:schemeClr val="dk1"/>
                        </a:solidFill>
                        <a:latin typeface="+mn-lt"/>
                        <a:ea typeface="+mn-ea"/>
                        <a:cs typeface="+mn-cs"/>
                      </a:endParaRPr>
                    </a:p>
                  </a:txBody>
                  <a:tcPr>
                    <a:solidFill>
                      <a:schemeClr val="bg1">
                        <a:lumMod val="95000"/>
                      </a:schemeClr>
                    </a:solidFill>
                  </a:tcPr>
                </a:tc>
                <a:tc>
                  <a:txBody>
                    <a:bodyPr/>
                    <a:lstStyle/>
                    <a:p>
                      <a:pPr marL="0" algn="l" defTabSz="914400" rtl="0" eaLnBrk="1" latinLnBrk="0" hangingPunct="1"/>
                      <a:endParaRPr lang="en-GB" sz="1200" kern="1200" dirty="0">
                        <a:solidFill>
                          <a:schemeClr val="dk1"/>
                        </a:solidFill>
                        <a:latin typeface="+mn-lt"/>
                        <a:ea typeface="+mn-ea"/>
                        <a:cs typeface="+mn-cs"/>
                      </a:endParaRPr>
                    </a:p>
                  </a:txBody>
                  <a:tcPr>
                    <a:solidFill>
                      <a:schemeClr val="bg1">
                        <a:lumMod val="95000"/>
                      </a:schemeClr>
                    </a:solidFill>
                  </a:tcPr>
                </a:tc>
                <a:tc>
                  <a:txBody>
                    <a:bodyPr/>
                    <a:lstStyle/>
                    <a:p>
                      <a:pPr marL="0" algn="l" defTabSz="914400" rtl="0" eaLnBrk="1" latinLnBrk="0" hangingPunct="1"/>
                      <a:endParaRPr lang="en-GB" sz="1200" kern="1200" dirty="0">
                        <a:solidFill>
                          <a:schemeClr val="dk1"/>
                        </a:solidFill>
                        <a:latin typeface="+mn-lt"/>
                        <a:ea typeface="+mn-ea"/>
                        <a:cs typeface="+mn-cs"/>
                      </a:endParaRPr>
                    </a:p>
                  </a:txBody>
                  <a:tcPr>
                    <a:solidFill>
                      <a:schemeClr val="bg1">
                        <a:lumMod val="95000"/>
                      </a:schemeClr>
                    </a:solidFill>
                  </a:tcPr>
                </a:tc>
                <a:tc>
                  <a:txBody>
                    <a:bodyPr/>
                    <a:lstStyle/>
                    <a:p>
                      <a:pPr marL="0" algn="l" defTabSz="914400" rtl="0" eaLnBrk="1" latinLnBrk="0" hangingPunct="1"/>
                      <a:endParaRPr lang="en-GB" sz="1200" kern="1200" dirty="0">
                        <a:solidFill>
                          <a:schemeClr val="dk1"/>
                        </a:solidFill>
                        <a:latin typeface="+mn-lt"/>
                        <a:ea typeface="+mn-ea"/>
                        <a:cs typeface="+mn-cs"/>
                      </a:endParaRPr>
                    </a:p>
                  </a:txBody>
                  <a:tcPr>
                    <a:solidFill>
                      <a:schemeClr val="bg1">
                        <a:lumMod val="95000"/>
                      </a:schemeClr>
                    </a:solidFill>
                  </a:tcPr>
                </a:tc>
                <a:extLst>
                  <a:ext uri="{0D108BD9-81ED-4DB2-BD59-A6C34878D82A}">
                    <a16:rowId xmlns:a16="http://schemas.microsoft.com/office/drawing/2014/main" val="1612073081"/>
                  </a:ext>
                </a:extLst>
              </a:tr>
              <a:tr h="3215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t>Volume </a:t>
                      </a: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kern="1200" dirty="0">
                        <a:solidFill>
                          <a:schemeClr val="dk1"/>
                        </a:solidFill>
                        <a:latin typeface="+mn-lt"/>
                        <a:ea typeface="+mn-ea"/>
                        <a:cs typeface="+mn-cs"/>
                      </a:endParaRPr>
                    </a:p>
                  </a:txBody>
                  <a:tcPr>
                    <a:solidFill>
                      <a:schemeClr val="bg1">
                        <a:lumMod val="95000"/>
                      </a:schemeClr>
                    </a:solidFill>
                  </a:tcPr>
                </a:tc>
                <a:tc>
                  <a:txBody>
                    <a:bodyPr/>
                    <a:lstStyle/>
                    <a:p>
                      <a:pPr marL="0" algn="l" defTabSz="914400" rtl="0" eaLnBrk="1" latinLnBrk="0" hangingPunct="1"/>
                      <a:endParaRPr lang="en-GB" sz="1200" kern="1200" dirty="0">
                        <a:solidFill>
                          <a:schemeClr val="dk1"/>
                        </a:solidFill>
                        <a:latin typeface="+mn-lt"/>
                        <a:ea typeface="+mn-ea"/>
                        <a:cs typeface="+mn-cs"/>
                      </a:endParaRPr>
                    </a:p>
                  </a:txBody>
                  <a:tcPr>
                    <a:solidFill>
                      <a:schemeClr val="bg1">
                        <a:lumMod val="95000"/>
                      </a:schemeClr>
                    </a:solidFill>
                  </a:tcPr>
                </a:tc>
                <a:tc>
                  <a:txBody>
                    <a:bodyPr/>
                    <a:lstStyle/>
                    <a:p>
                      <a:pPr marL="0" algn="l" defTabSz="914400" rtl="0" eaLnBrk="1" latinLnBrk="0" hangingPunct="1"/>
                      <a:endParaRPr lang="en-GB" sz="1200" kern="1200" dirty="0">
                        <a:solidFill>
                          <a:schemeClr val="dk1"/>
                        </a:solidFill>
                        <a:latin typeface="+mn-lt"/>
                        <a:ea typeface="+mn-ea"/>
                        <a:cs typeface="+mn-cs"/>
                      </a:endParaRPr>
                    </a:p>
                  </a:txBody>
                  <a:tcPr>
                    <a:solidFill>
                      <a:schemeClr val="bg1">
                        <a:lumMod val="95000"/>
                      </a:schemeClr>
                    </a:solidFill>
                  </a:tcPr>
                </a:tc>
                <a:tc>
                  <a:txBody>
                    <a:bodyPr/>
                    <a:lstStyle/>
                    <a:p>
                      <a:pPr marL="0" algn="l" defTabSz="914400" rtl="0" eaLnBrk="1" latinLnBrk="0" hangingPunct="1"/>
                      <a:endParaRPr lang="en-GB" sz="1200" kern="1200" dirty="0">
                        <a:solidFill>
                          <a:schemeClr val="dk1"/>
                        </a:solidFill>
                        <a:latin typeface="+mn-lt"/>
                        <a:ea typeface="+mn-ea"/>
                        <a:cs typeface="+mn-cs"/>
                      </a:endParaRPr>
                    </a:p>
                  </a:txBody>
                  <a:tcPr>
                    <a:solidFill>
                      <a:schemeClr val="bg1">
                        <a:lumMod val="95000"/>
                      </a:schemeClr>
                    </a:solidFill>
                  </a:tcPr>
                </a:tc>
                <a:extLst>
                  <a:ext uri="{0D108BD9-81ED-4DB2-BD59-A6C34878D82A}">
                    <a16:rowId xmlns:a16="http://schemas.microsoft.com/office/drawing/2014/main" val="2202087105"/>
                  </a:ext>
                </a:extLst>
              </a:tr>
              <a:tr h="3215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t>Store Branding </a:t>
                      </a: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kern="1200" dirty="0">
                        <a:solidFill>
                          <a:schemeClr val="dk1"/>
                        </a:solidFill>
                        <a:latin typeface="+mn-lt"/>
                        <a:ea typeface="+mn-ea"/>
                        <a:cs typeface="+mn-cs"/>
                      </a:endParaRPr>
                    </a:p>
                  </a:txBody>
                  <a:tcPr>
                    <a:solidFill>
                      <a:schemeClr val="bg1">
                        <a:lumMod val="95000"/>
                      </a:schemeClr>
                    </a:solidFill>
                  </a:tcPr>
                </a:tc>
                <a:tc>
                  <a:txBody>
                    <a:bodyPr/>
                    <a:lstStyle/>
                    <a:p>
                      <a:pPr marL="0" algn="l" defTabSz="914400" rtl="0" eaLnBrk="1" latinLnBrk="0" hangingPunct="1"/>
                      <a:endParaRPr lang="en-GB" sz="1200" kern="1200" dirty="0">
                        <a:solidFill>
                          <a:schemeClr val="dk1"/>
                        </a:solidFill>
                        <a:latin typeface="+mn-lt"/>
                        <a:ea typeface="+mn-ea"/>
                        <a:cs typeface="+mn-cs"/>
                      </a:endParaRPr>
                    </a:p>
                  </a:txBody>
                  <a:tcPr>
                    <a:solidFill>
                      <a:schemeClr val="bg1">
                        <a:lumMod val="95000"/>
                      </a:schemeClr>
                    </a:solidFill>
                  </a:tcPr>
                </a:tc>
                <a:tc>
                  <a:txBody>
                    <a:bodyPr/>
                    <a:lstStyle/>
                    <a:p>
                      <a:pPr marL="0" algn="l" defTabSz="914400" rtl="0" eaLnBrk="1" latinLnBrk="0" hangingPunct="1"/>
                      <a:endParaRPr lang="en-GB" sz="1200" kern="1200" dirty="0">
                        <a:solidFill>
                          <a:schemeClr val="dk1"/>
                        </a:solidFill>
                        <a:latin typeface="+mn-lt"/>
                        <a:ea typeface="+mn-ea"/>
                        <a:cs typeface="+mn-cs"/>
                      </a:endParaRPr>
                    </a:p>
                  </a:txBody>
                  <a:tcPr>
                    <a:solidFill>
                      <a:schemeClr val="bg1">
                        <a:lumMod val="95000"/>
                      </a:schemeClr>
                    </a:solidFill>
                  </a:tcPr>
                </a:tc>
                <a:tc>
                  <a:txBody>
                    <a:bodyPr/>
                    <a:lstStyle/>
                    <a:p>
                      <a:pPr marL="0" algn="l" defTabSz="914400" rtl="0" eaLnBrk="1" latinLnBrk="0" hangingPunct="1"/>
                      <a:endParaRPr lang="en-GB" sz="1200" kern="1200" dirty="0">
                        <a:solidFill>
                          <a:schemeClr val="dk1"/>
                        </a:solidFill>
                        <a:latin typeface="+mn-lt"/>
                        <a:ea typeface="+mn-ea"/>
                        <a:cs typeface="+mn-cs"/>
                      </a:endParaRPr>
                    </a:p>
                  </a:txBody>
                  <a:tcPr>
                    <a:solidFill>
                      <a:schemeClr val="bg1">
                        <a:lumMod val="95000"/>
                      </a:schemeClr>
                    </a:solidFill>
                  </a:tcPr>
                </a:tc>
                <a:extLst>
                  <a:ext uri="{0D108BD9-81ED-4DB2-BD59-A6C34878D82A}">
                    <a16:rowId xmlns:a16="http://schemas.microsoft.com/office/drawing/2014/main" val="871715920"/>
                  </a:ext>
                </a:extLst>
              </a:tr>
              <a:tr h="3215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t>Category Branding</a:t>
                      </a: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kern="1200" dirty="0">
                        <a:solidFill>
                          <a:schemeClr val="dk1"/>
                        </a:solidFill>
                        <a:latin typeface="+mn-lt"/>
                        <a:ea typeface="+mn-ea"/>
                        <a:cs typeface="+mn-cs"/>
                      </a:endParaRPr>
                    </a:p>
                  </a:txBody>
                  <a:tcPr>
                    <a:solidFill>
                      <a:schemeClr val="bg1">
                        <a:lumMod val="95000"/>
                      </a:schemeClr>
                    </a:solidFill>
                  </a:tcPr>
                </a:tc>
                <a:tc>
                  <a:txBody>
                    <a:bodyPr/>
                    <a:lstStyle/>
                    <a:p>
                      <a:pPr marL="0" algn="l" defTabSz="914400" rtl="0" eaLnBrk="1" latinLnBrk="0" hangingPunct="1"/>
                      <a:endParaRPr lang="en-GB" sz="1200" kern="1200" dirty="0">
                        <a:solidFill>
                          <a:schemeClr val="dk1"/>
                        </a:solidFill>
                        <a:latin typeface="+mn-lt"/>
                        <a:ea typeface="+mn-ea"/>
                        <a:cs typeface="+mn-cs"/>
                      </a:endParaRPr>
                    </a:p>
                  </a:txBody>
                  <a:tcPr>
                    <a:solidFill>
                      <a:schemeClr val="bg1">
                        <a:lumMod val="95000"/>
                      </a:schemeClr>
                    </a:solidFill>
                  </a:tcPr>
                </a:tc>
                <a:tc>
                  <a:txBody>
                    <a:bodyPr/>
                    <a:lstStyle/>
                    <a:p>
                      <a:pPr marL="0" algn="l" defTabSz="914400" rtl="0" eaLnBrk="1" latinLnBrk="0" hangingPunct="1"/>
                      <a:endParaRPr lang="en-GB" sz="1200" kern="1200" dirty="0">
                        <a:solidFill>
                          <a:schemeClr val="dk1"/>
                        </a:solidFill>
                        <a:latin typeface="+mn-lt"/>
                        <a:ea typeface="+mn-ea"/>
                        <a:cs typeface="+mn-cs"/>
                      </a:endParaRPr>
                    </a:p>
                  </a:txBody>
                  <a:tcPr>
                    <a:solidFill>
                      <a:schemeClr val="bg1">
                        <a:lumMod val="95000"/>
                      </a:schemeClr>
                    </a:solidFill>
                  </a:tcPr>
                </a:tc>
                <a:tc>
                  <a:txBody>
                    <a:bodyPr/>
                    <a:lstStyle/>
                    <a:p>
                      <a:pPr marL="0" algn="l" defTabSz="914400" rtl="0" eaLnBrk="1" latinLnBrk="0" hangingPunct="1"/>
                      <a:endParaRPr lang="en-GB" sz="1200" kern="1200" dirty="0">
                        <a:solidFill>
                          <a:schemeClr val="dk1"/>
                        </a:solidFill>
                        <a:latin typeface="+mn-lt"/>
                        <a:ea typeface="+mn-ea"/>
                        <a:cs typeface="+mn-cs"/>
                      </a:endParaRPr>
                    </a:p>
                  </a:txBody>
                  <a:tcPr>
                    <a:solidFill>
                      <a:schemeClr val="bg1">
                        <a:lumMod val="95000"/>
                      </a:schemeClr>
                    </a:solidFill>
                  </a:tcPr>
                </a:tc>
                <a:extLst>
                  <a:ext uri="{0D108BD9-81ED-4DB2-BD59-A6C34878D82A}">
                    <a16:rowId xmlns:a16="http://schemas.microsoft.com/office/drawing/2014/main" val="571825475"/>
                  </a:ext>
                </a:extLst>
              </a:tr>
              <a:tr h="3215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t>POS Placement </a:t>
                      </a: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kern="1200" dirty="0">
                        <a:solidFill>
                          <a:schemeClr val="dk1"/>
                        </a:solidFill>
                        <a:latin typeface="+mn-lt"/>
                        <a:ea typeface="+mn-ea"/>
                        <a:cs typeface="+mn-cs"/>
                      </a:endParaRPr>
                    </a:p>
                  </a:txBody>
                  <a:tcPr>
                    <a:solidFill>
                      <a:schemeClr val="bg1">
                        <a:lumMod val="95000"/>
                      </a:schemeClr>
                    </a:solidFill>
                  </a:tcPr>
                </a:tc>
                <a:tc>
                  <a:txBody>
                    <a:bodyPr/>
                    <a:lstStyle/>
                    <a:p>
                      <a:pPr marL="0" algn="l" defTabSz="914400" rtl="0" eaLnBrk="1" latinLnBrk="0" hangingPunct="1"/>
                      <a:endParaRPr lang="en-GB" sz="1200" kern="1200" dirty="0">
                        <a:solidFill>
                          <a:schemeClr val="dk1"/>
                        </a:solidFill>
                        <a:latin typeface="+mn-lt"/>
                        <a:ea typeface="+mn-ea"/>
                        <a:cs typeface="+mn-cs"/>
                      </a:endParaRPr>
                    </a:p>
                  </a:txBody>
                  <a:tcPr>
                    <a:solidFill>
                      <a:schemeClr val="bg1">
                        <a:lumMod val="95000"/>
                      </a:schemeClr>
                    </a:solidFill>
                  </a:tcPr>
                </a:tc>
                <a:tc>
                  <a:txBody>
                    <a:bodyPr/>
                    <a:lstStyle/>
                    <a:p>
                      <a:pPr marL="0" algn="l" defTabSz="914400" rtl="0" eaLnBrk="1" latinLnBrk="0" hangingPunct="1"/>
                      <a:endParaRPr lang="en-GB" sz="1200" kern="1200" dirty="0">
                        <a:solidFill>
                          <a:schemeClr val="dk1"/>
                        </a:solidFill>
                        <a:latin typeface="+mn-lt"/>
                        <a:ea typeface="+mn-ea"/>
                        <a:cs typeface="+mn-cs"/>
                      </a:endParaRPr>
                    </a:p>
                  </a:txBody>
                  <a:tcPr>
                    <a:solidFill>
                      <a:schemeClr val="bg1">
                        <a:lumMod val="95000"/>
                      </a:schemeClr>
                    </a:solidFill>
                  </a:tcPr>
                </a:tc>
                <a:tc>
                  <a:txBody>
                    <a:bodyPr/>
                    <a:lstStyle/>
                    <a:p>
                      <a:pPr marL="0" algn="l" defTabSz="914400" rtl="0" eaLnBrk="1" latinLnBrk="0" hangingPunct="1"/>
                      <a:endParaRPr lang="en-GB" sz="1200" kern="1200" dirty="0">
                        <a:solidFill>
                          <a:schemeClr val="dk1"/>
                        </a:solidFill>
                        <a:latin typeface="+mn-lt"/>
                        <a:ea typeface="+mn-ea"/>
                        <a:cs typeface="+mn-cs"/>
                      </a:endParaRPr>
                    </a:p>
                  </a:txBody>
                  <a:tcPr>
                    <a:solidFill>
                      <a:schemeClr val="bg1">
                        <a:lumMod val="95000"/>
                      </a:schemeClr>
                    </a:solidFill>
                  </a:tcPr>
                </a:tc>
                <a:extLst>
                  <a:ext uri="{0D108BD9-81ED-4DB2-BD59-A6C34878D82A}">
                    <a16:rowId xmlns:a16="http://schemas.microsoft.com/office/drawing/2014/main" val="118123027"/>
                  </a:ext>
                </a:extLst>
              </a:tr>
              <a:tr h="3215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t>Check out placement </a:t>
                      </a:r>
                    </a:p>
                  </a:txBody>
                  <a:tcPr>
                    <a:solidFill>
                      <a:schemeClr val="bg1">
                        <a:lumMod val="95000"/>
                      </a:schemeClr>
                    </a:solidFill>
                  </a:tcPr>
                </a:tc>
                <a:tc>
                  <a:txBody>
                    <a:bodyPr/>
                    <a:lstStyle/>
                    <a:p>
                      <a:pPr marL="0" algn="l" defTabSz="914400" rtl="0" eaLnBrk="1" latinLnBrk="0" hangingPunct="1"/>
                      <a:endParaRPr lang="en-GB" sz="1200" kern="1200" dirty="0">
                        <a:solidFill>
                          <a:schemeClr val="dk1"/>
                        </a:solidFill>
                        <a:latin typeface="+mn-lt"/>
                        <a:ea typeface="+mn-ea"/>
                        <a:cs typeface="+mn-cs"/>
                      </a:endParaRPr>
                    </a:p>
                  </a:txBody>
                  <a:tcPr>
                    <a:solidFill>
                      <a:schemeClr val="bg1">
                        <a:lumMod val="95000"/>
                      </a:schemeClr>
                    </a:solidFill>
                  </a:tcPr>
                </a:tc>
                <a:tc>
                  <a:txBody>
                    <a:bodyPr/>
                    <a:lstStyle/>
                    <a:p>
                      <a:pPr marL="0" algn="l" defTabSz="914400" rtl="0" eaLnBrk="1" latinLnBrk="0" hangingPunct="1"/>
                      <a:endParaRPr lang="en-GB" sz="1200" kern="1200" dirty="0">
                        <a:solidFill>
                          <a:schemeClr val="dk1"/>
                        </a:solidFill>
                        <a:latin typeface="+mn-lt"/>
                        <a:ea typeface="+mn-ea"/>
                        <a:cs typeface="+mn-cs"/>
                      </a:endParaRPr>
                    </a:p>
                  </a:txBody>
                  <a:tcPr>
                    <a:solidFill>
                      <a:schemeClr val="bg1">
                        <a:lumMod val="95000"/>
                      </a:schemeClr>
                    </a:solidFill>
                  </a:tcPr>
                </a:tc>
                <a:tc>
                  <a:txBody>
                    <a:bodyPr/>
                    <a:lstStyle/>
                    <a:p>
                      <a:pPr marL="0" algn="l" defTabSz="914400" rtl="0" eaLnBrk="1" latinLnBrk="0" hangingPunct="1"/>
                      <a:endParaRPr lang="en-GB" sz="1200" kern="1200" dirty="0">
                        <a:solidFill>
                          <a:schemeClr val="dk1"/>
                        </a:solidFill>
                        <a:latin typeface="+mn-lt"/>
                        <a:ea typeface="+mn-ea"/>
                        <a:cs typeface="+mn-cs"/>
                      </a:endParaRPr>
                    </a:p>
                  </a:txBody>
                  <a:tcPr>
                    <a:solidFill>
                      <a:schemeClr val="bg1">
                        <a:lumMod val="95000"/>
                      </a:schemeClr>
                    </a:solidFill>
                  </a:tcPr>
                </a:tc>
                <a:tc>
                  <a:txBody>
                    <a:bodyPr/>
                    <a:lstStyle/>
                    <a:p>
                      <a:pPr marL="0" algn="l" defTabSz="914400" rtl="0" eaLnBrk="1" latinLnBrk="0" hangingPunct="1"/>
                      <a:endParaRPr lang="en-GB" sz="1200" kern="1200" dirty="0">
                        <a:solidFill>
                          <a:schemeClr val="dk1"/>
                        </a:solidFill>
                        <a:latin typeface="+mn-lt"/>
                        <a:ea typeface="+mn-ea"/>
                        <a:cs typeface="+mn-cs"/>
                      </a:endParaRPr>
                    </a:p>
                  </a:txBody>
                  <a:tcPr>
                    <a:solidFill>
                      <a:schemeClr val="bg1">
                        <a:lumMod val="95000"/>
                      </a:schemeClr>
                    </a:solidFill>
                  </a:tcPr>
                </a:tc>
                <a:extLst>
                  <a:ext uri="{0D108BD9-81ED-4DB2-BD59-A6C34878D82A}">
                    <a16:rowId xmlns:a16="http://schemas.microsoft.com/office/drawing/2014/main" val="387940043"/>
                  </a:ext>
                </a:extLst>
              </a:tr>
              <a:tr h="321544">
                <a:tc>
                  <a:txBody>
                    <a:bodyPr/>
                    <a:lstStyle/>
                    <a:p>
                      <a:pPr algn="l"/>
                      <a:r>
                        <a:rPr lang="en-GB" sz="1200" b="1" dirty="0"/>
                        <a:t>Shelf Share</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152720991"/>
                  </a:ext>
                </a:extLst>
              </a:tr>
              <a:tr h="321544">
                <a:tc>
                  <a:txBody>
                    <a:bodyPr/>
                    <a:lstStyle/>
                    <a:p>
                      <a:pPr algn="l"/>
                      <a:r>
                        <a:rPr lang="en-GB" sz="1200" b="1" dirty="0"/>
                        <a:t>Category relaying</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3338590621"/>
                  </a:ext>
                </a:extLst>
              </a:tr>
              <a:tr h="321544">
                <a:tc>
                  <a:txBody>
                    <a:bodyPr/>
                    <a:lstStyle/>
                    <a:p>
                      <a:pPr algn="l"/>
                      <a:r>
                        <a:rPr lang="en-GB" sz="1200" b="1" dirty="0"/>
                        <a:t>Branding </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4292982655"/>
                  </a:ext>
                </a:extLst>
              </a:tr>
              <a:tr h="321544">
                <a:tc>
                  <a:txBody>
                    <a:bodyPr/>
                    <a:lstStyle/>
                    <a:p>
                      <a:pPr algn="l"/>
                      <a:r>
                        <a:rPr lang="en-GB" sz="1200" b="1" dirty="0"/>
                        <a:t>Communication engagement</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4246901403"/>
                  </a:ext>
                </a:extLst>
              </a:tr>
              <a:tr h="321544">
                <a:tc>
                  <a:txBody>
                    <a:bodyPr/>
                    <a:lstStyle/>
                    <a:p>
                      <a:pPr algn="l"/>
                      <a:r>
                        <a:rPr lang="en-GB" sz="1200" b="1" dirty="0"/>
                        <a:t>Consumer Promotions </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1086604594"/>
                  </a:ext>
                </a:extLst>
              </a:tr>
              <a:tr h="3215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t>Trade Promotions </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1942931181"/>
                  </a:ext>
                </a:extLst>
              </a:tr>
              <a:tr h="3215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t>Sampling </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2490979866"/>
                  </a:ext>
                </a:extLst>
              </a:tr>
              <a:tr h="3215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t>Direct Mail </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1452815385"/>
                  </a:ext>
                </a:extLst>
              </a:tr>
            </a:tbl>
          </a:graphicData>
        </a:graphic>
      </p:graphicFrame>
    </p:spTree>
    <p:extLst>
      <p:ext uri="{BB962C8B-B14F-4D97-AF65-F5344CB8AC3E}">
        <p14:creationId xmlns:p14="http://schemas.microsoft.com/office/powerpoint/2010/main" val="14977186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923C712-8031-85AA-038E-542F90629807}"/>
              </a:ext>
            </a:extLst>
          </p:cNvPr>
          <p:cNvSpPr txBox="1"/>
          <p:nvPr/>
        </p:nvSpPr>
        <p:spPr>
          <a:xfrm>
            <a:off x="116542" y="74495"/>
            <a:ext cx="10056158" cy="800219"/>
          </a:xfrm>
          <a:prstGeom prst="rect">
            <a:avLst/>
          </a:prstGeom>
          <a:solidFill>
            <a:schemeClr val="bg1"/>
          </a:solid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a:t>
            </a: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riority Categories &amp; Brands  </a:t>
            </a:r>
          </a:p>
        </p:txBody>
      </p:sp>
      <p:pic>
        <p:nvPicPr>
          <p:cNvPr id="4" name="Picture 3" descr="Logo&#10;&#10;Description automatically generated">
            <a:extLst>
              <a:ext uri="{FF2B5EF4-FFF2-40B4-BE49-F238E27FC236}">
                <a16:creationId xmlns:a16="http://schemas.microsoft.com/office/drawing/2014/main" id="{B5538767-7AF6-FAB4-F176-2CF4196E64E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5" name="Footer Placeholder 3">
            <a:extLst>
              <a:ext uri="{FF2B5EF4-FFF2-40B4-BE49-F238E27FC236}">
                <a16:creationId xmlns:a16="http://schemas.microsoft.com/office/drawing/2014/main" id="{83B6777B-1426-7B0D-3F67-848E0A9026EF}"/>
              </a:ext>
            </a:extLst>
          </p:cNvPr>
          <p:cNvSpPr>
            <a:spLocks noGrp="1"/>
          </p:cNvSpPr>
          <p:nvPr>
            <p:ph type="ftr" sz="quarter" idx="11"/>
          </p:nvPr>
        </p:nvSpPr>
        <p:spPr>
          <a:xfrm>
            <a:off x="403860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Lato Light"/>
                <a:ea typeface="+mn-ea"/>
                <a:cs typeface="+mn-cs"/>
              </a:rPr>
              <a:t>www.upskilpro.com</a:t>
            </a:r>
            <a:endParaRPr kumimoji="0" lang="en-GB" sz="1200" b="0" i="0" u="none" strike="noStrike" kern="1200" cap="none" spc="0" normalizeH="0" baseline="0" noProof="0" dirty="0">
              <a:ln>
                <a:noFill/>
              </a:ln>
              <a:solidFill>
                <a:prstClr val="black">
                  <a:tint val="75000"/>
                </a:prstClr>
              </a:solidFill>
              <a:effectLst/>
              <a:uLnTx/>
              <a:uFillTx/>
              <a:latin typeface="Lato Light"/>
              <a:ea typeface="+mn-ea"/>
              <a:cs typeface="+mn-cs"/>
            </a:endParaRPr>
          </a:p>
        </p:txBody>
      </p:sp>
      <p:graphicFrame>
        <p:nvGraphicFramePr>
          <p:cNvPr id="6" name="Table 5">
            <a:extLst>
              <a:ext uri="{FF2B5EF4-FFF2-40B4-BE49-F238E27FC236}">
                <a16:creationId xmlns:a16="http://schemas.microsoft.com/office/drawing/2014/main" id="{13E82A81-41DB-3DFD-7AA9-A63B94CF7EA4}"/>
              </a:ext>
            </a:extLst>
          </p:cNvPr>
          <p:cNvGraphicFramePr>
            <a:graphicFrameLocks noGrp="1"/>
          </p:cNvGraphicFramePr>
          <p:nvPr/>
        </p:nvGraphicFramePr>
        <p:xfrm>
          <a:off x="1216106" y="939233"/>
          <a:ext cx="10075193" cy="5171720"/>
        </p:xfrm>
        <a:graphic>
          <a:graphicData uri="http://schemas.openxmlformats.org/drawingml/2006/table">
            <a:tbl>
              <a:tblPr firstRow="1" bandRow="1">
                <a:tableStyleId>{5C22544A-7EE6-4342-B048-85BDC9FD1C3A}</a:tableStyleId>
              </a:tblPr>
              <a:tblGrid>
                <a:gridCol w="2122995">
                  <a:extLst>
                    <a:ext uri="{9D8B030D-6E8A-4147-A177-3AD203B41FA5}">
                      <a16:colId xmlns:a16="http://schemas.microsoft.com/office/drawing/2014/main" val="1207560090"/>
                    </a:ext>
                  </a:extLst>
                </a:gridCol>
                <a:gridCol w="1797978">
                  <a:extLst>
                    <a:ext uri="{9D8B030D-6E8A-4147-A177-3AD203B41FA5}">
                      <a16:colId xmlns:a16="http://schemas.microsoft.com/office/drawing/2014/main" val="4118078510"/>
                    </a:ext>
                  </a:extLst>
                </a:gridCol>
                <a:gridCol w="6154220">
                  <a:extLst>
                    <a:ext uri="{9D8B030D-6E8A-4147-A177-3AD203B41FA5}">
                      <a16:colId xmlns:a16="http://schemas.microsoft.com/office/drawing/2014/main" val="3939790868"/>
                    </a:ext>
                  </a:extLst>
                </a:gridCol>
              </a:tblGrid>
              <a:tr h="372898">
                <a:tc>
                  <a:txBody>
                    <a:bodyPr/>
                    <a:lstStyle/>
                    <a:p>
                      <a:r>
                        <a:rPr lang="en-GB" dirty="0"/>
                        <a:t>Priorities </a:t>
                      </a:r>
                    </a:p>
                  </a:txBody>
                  <a:tcPr/>
                </a:tc>
                <a:tc>
                  <a:txBody>
                    <a:bodyPr/>
                    <a:lstStyle/>
                    <a:p>
                      <a:pPr algn="ctr"/>
                      <a:r>
                        <a:rPr lang="en-GB" dirty="0"/>
                        <a:t>Priority Level  </a:t>
                      </a:r>
                    </a:p>
                  </a:txBody>
                  <a:tcPr/>
                </a:tc>
                <a:tc>
                  <a:txBody>
                    <a:bodyPr/>
                    <a:lstStyle/>
                    <a:p>
                      <a:pPr algn="ctr"/>
                      <a:r>
                        <a:rPr lang="en-GB" dirty="0"/>
                        <a:t>Comments </a:t>
                      </a:r>
                    </a:p>
                  </a:txBody>
                  <a:tcPr/>
                </a:tc>
                <a:extLst>
                  <a:ext uri="{0D108BD9-81ED-4DB2-BD59-A6C34878D82A}">
                    <a16:rowId xmlns:a16="http://schemas.microsoft.com/office/drawing/2014/main" val="81982691"/>
                  </a:ext>
                </a:extLst>
              </a:tr>
              <a:tr h="297206">
                <a:tc>
                  <a:txBody>
                    <a:bodyPr/>
                    <a:lstStyle/>
                    <a:p>
                      <a:pPr algn="l"/>
                      <a:r>
                        <a:rPr lang="en-GB" sz="1200" b="1" dirty="0"/>
                        <a:t>Brand </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385497981"/>
                  </a:ext>
                </a:extLst>
              </a:tr>
              <a:tr h="321544">
                <a:tc>
                  <a:txBody>
                    <a:bodyPr/>
                    <a:lstStyle/>
                    <a:p>
                      <a:pPr algn="r"/>
                      <a:r>
                        <a:rPr lang="en-GB" sz="1200" b="1" dirty="0"/>
                        <a:t>Brand A</a:t>
                      </a:r>
                    </a:p>
                  </a:txBody>
                  <a:tcPr>
                    <a:solidFill>
                      <a:schemeClr val="bg1">
                        <a:lumMod val="95000"/>
                      </a:schemeClr>
                    </a:solidFill>
                  </a:tcPr>
                </a:tc>
                <a:tc>
                  <a:txBody>
                    <a:bodyPr/>
                    <a:lstStyle/>
                    <a:p>
                      <a:pPr algn="ctr"/>
                      <a:r>
                        <a:rPr lang="en-GB" sz="1200" dirty="0">
                          <a:solidFill>
                            <a:schemeClr val="bg1"/>
                          </a:solidFill>
                        </a:rPr>
                        <a:t>Drive Brand </a:t>
                      </a:r>
                    </a:p>
                  </a:txBody>
                  <a:tcPr>
                    <a:solidFill>
                      <a:schemeClr val="accent6"/>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2428912356"/>
                  </a:ext>
                </a:extLst>
              </a:tr>
              <a:tr h="321544">
                <a:tc>
                  <a:txBody>
                    <a:bodyPr/>
                    <a:lstStyle/>
                    <a:p>
                      <a:pPr algn="r"/>
                      <a:r>
                        <a:rPr lang="en-GB" sz="1200" b="1" dirty="0"/>
                        <a:t>Brand B </a:t>
                      </a:r>
                    </a:p>
                  </a:txBody>
                  <a:tcPr>
                    <a:solidFill>
                      <a:schemeClr val="bg1">
                        <a:lumMod val="95000"/>
                      </a:schemeClr>
                    </a:solidFill>
                  </a:tcPr>
                </a:tc>
                <a:tc>
                  <a:txBody>
                    <a:bodyPr/>
                    <a:lstStyle/>
                    <a:p>
                      <a:pPr marL="0" algn="l" defTabSz="914400" rtl="0" eaLnBrk="1" latinLnBrk="0" hangingPunct="1"/>
                      <a:r>
                        <a:rPr lang="en-GB" sz="1200" kern="1200" dirty="0">
                          <a:solidFill>
                            <a:schemeClr val="dk1"/>
                          </a:solidFill>
                          <a:latin typeface="+mn-lt"/>
                          <a:ea typeface="+mn-ea"/>
                          <a:cs typeface="+mn-cs"/>
                        </a:rPr>
                        <a:t>Support Brand </a:t>
                      </a:r>
                    </a:p>
                  </a:txBody>
                  <a:tcPr>
                    <a:solidFill>
                      <a:schemeClr val="accent3"/>
                    </a:solidFill>
                  </a:tcPr>
                </a:tc>
                <a:tc>
                  <a:txBody>
                    <a:bodyPr/>
                    <a:lstStyle/>
                    <a:p>
                      <a:pPr marL="0" algn="l" defTabSz="914400" rtl="0" eaLnBrk="1" latinLnBrk="0" hangingPunct="1"/>
                      <a:endParaRPr lang="en-GB" sz="1200" kern="1200" dirty="0">
                        <a:solidFill>
                          <a:schemeClr val="dk1"/>
                        </a:solidFill>
                        <a:latin typeface="+mn-lt"/>
                        <a:ea typeface="+mn-ea"/>
                        <a:cs typeface="+mn-cs"/>
                      </a:endParaRPr>
                    </a:p>
                  </a:txBody>
                  <a:tcPr>
                    <a:solidFill>
                      <a:schemeClr val="bg1">
                        <a:lumMod val="95000"/>
                      </a:schemeClr>
                    </a:solidFill>
                  </a:tcPr>
                </a:tc>
                <a:extLst>
                  <a:ext uri="{0D108BD9-81ED-4DB2-BD59-A6C34878D82A}">
                    <a16:rowId xmlns:a16="http://schemas.microsoft.com/office/drawing/2014/main" val="1612073081"/>
                  </a:ext>
                </a:extLst>
              </a:tr>
              <a:tr h="32154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dirty="0"/>
                        <a:t>Brand C</a:t>
                      </a: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dk1"/>
                          </a:solidFill>
                          <a:latin typeface="+mn-lt"/>
                          <a:ea typeface="+mn-ea"/>
                          <a:cs typeface="+mn-cs"/>
                        </a:rPr>
                        <a:t>Maintain Brand </a:t>
                      </a:r>
                    </a:p>
                  </a:txBody>
                  <a:tcPr>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kern="1200" dirty="0">
                        <a:solidFill>
                          <a:schemeClr val="dk1"/>
                        </a:solidFill>
                        <a:latin typeface="+mn-lt"/>
                        <a:ea typeface="+mn-ea"/>
                        <a:cs typeface="+mn-cs"/>
                      </a:endParaRPr>
                    </a:p>
                  </a:txBody>
                  <a:tcPr>
                    <a:solidFill>
                      <a:schemeClr val="bg1">
                        <a:lumMod val="95000"/>
                      </a:schemeClr>
                    </a:solidFill>
                  </a:tcPr>
                </a:tc>
                <a:extLst>
                  <a:ext uri="{0D108BD9-81ED-4DB2-BD59-A6C34878D82A}">
                    <a16:rowId xmlns:a16="http://schemas.microsoft.com/office/drawing/2014/main" val="2202087105"/>
                  </a:ext>
                </a:extLst>
              </a:tr>
              <a:tr h="32154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dirty="0"/>
                        <a:t>Brand D</a:t>
                      </a: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dk1"/>
                          </a:solidFill>
                          <a:latin typeface="+mn-lt"/>
                          <a:ea typeface="+mn-ea"/>
                          <a:cs typeface="+mn-cs"/>
                        </a:rPr>
                        <a:t>Maintain Brand </a:t>
                      </a:r>
                    </a:p>
                  </a:txBody>
                  <a:tcPr>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kern="1200" dirty="0">
                        <a:solidFill>
                          <a:schemeClr val="dk1"/>
                        </a:solidFill>
                        <a:latin typeface="+mn-lt"/>
                        <a:ea typeface="+mn-ea"/>
                        <a:cs typeface="+mn-cs"/>
                      </a:endParaRPr>
                    </a:p>
                  </a:txBody>
                  <a:tcPr>
                    <a:solidFill>
                      <a:schemeClr val="bg1">
                        <a:lumMod val="95000"/>
                      </a:schemeClr>
                    </a:solidFill>
                  </a:tcPr>
                </a:tc>
                <a:extLst>
                  <a:ext uri="{0D108BD9-81ED-4DB2-BD59-A6C34878D82A}">
                    <a16:rowId xmlns:a16="http://schemas.microsoft.com/office/drawing/2014/main" val="871715920"/>
                  </a:ext>
                </a:extLst>
              </a:tr>
              <a:tr h="3215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t>Segment </a:t>
                      </a: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kern="1200" dirty="0">
                        <a:solidFill>
                          <a:schemeClr val="dk1"/>
                        </a:solidFill>
                        <a:latin typeface="+mn-lt"/>
                        <a:ea typeface="+mn-ea"/>
                        <a:cs typeface="+mn-cs"/>
                      </a:endParaRP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kern="1200" dirty="0">
                        <a:solidFill>
                          <a:schemeClr val="dk1"/>
                        </a:solidFill>
                        <a:latin typeface="+mn-lt"/>
                        <a:ea typeface="+mn-ea"/>
                        <a:cs typeface="+mn-cs"/>
                      </a:endParaRPr>
                    </a:p>
                  </a:txBody>
                  <a:tcPr>
                    <a:solidFill>
                      <a:schemeClr val="bg1">
                        <a:lumMod val="95000"/>
                      </a:schemeClr>
                    </a:solidFill>
                  </a:tcPr>
                </a:tc>
                <a:extLst>
                  <a:ext uri="{0D108BD9-81ED-4DB2-BD59-A6C34878D82A}">
                    <a16:rowId xmlns:a16="http://schemas.microsoft.com/office/drawing/2014/main" val="571825475"/>
                  </a:ext>
                </a:extLst>
              </a:tr>
              <a:tr h="32154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dirty="0"/>
                        <a:t>Segment A</a:t>
                      </a: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dk1"/>
                          </a:solidFill>
                          <a:latin typeface="+mn-lt"/>
                          <a:ea typeface="+mn-ea"/>
                          <a:cs typeface="+mn-cs"/>
                        </a:rPr>
                        <a:t>Expand Segment </a:t>
                      </a:r>
                    </a:p>
                  </a:txBody>
                  <a:tcPr>
                    <a:solidFill>
                      <a:schemeClr val="accent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kern="1200" dirty="0">
                        <a:solidFill>
                          <a:schemeClr val="dk1"/>
                        </a:solidFill>
                        <a:latin typeface="+mn-lt"/>
                        <a:ea typeface="+mn-ea"/>
                        <a:cs typeface="+mn-cs"/>
                      </a:endParaRPr>
                    </a:p>
                  </a:txBody>
                  <a:tcPr>
                    <a:solidFill>
                      <a:schemeClr val="bg1">
                        <a:lumMod val="95000"/>
                      </a:schemeClr>
                    </a:solidFill>
                  </a:tcPr>
                </a:tc>
                <a:extLst>
                  <a:ext uri="{0D108BD9-81ED-4DB2-BD59-A6C34878D82A}">
                    <a16:rowId xmlns:a16="http://schemas.microsoft.com/office/drawing/2014/main" val="118123027"/>
                  </a:ext>
                </a:extLst>
              </a:tr>
              <a:tr h="32154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dirty="0"/>
                        <a:t>Segment B</a:t>
                      </a:r>
                    </a:p>
                  </a:txBody>
                  <a:tcPr>
                    <a:solidFill>
                      <a:schemeClr val="bg1">
                        <a:lumMod val="95000"/>
                      </a:schemeClr>
                    </a:solidFill>
                  </a:tcPr>
                </a:tc>
                <a:tc>
                  <a:txBody>
                    <a:bodyPr/>
                    <a:lstStyle/>
                    <a:p>
                      <a:pPr marL="0" algn="l" defTabSz="914400" rtl="0" eaLnBrk="1" latinLnBrk="0" hangingPunct="1"/>
                      <a:r>
                        <a:rPr lang="en-GB" sz="1200" kern="1200" dirty="0">
                          <a:solidFill>
                            <a:schemeClr val="dk1"/>
                          </a:solidFill>
                          <a:latin typeface="+mn-lt"/>
                          <a:ea typeface="+mn-ea"/>
                          <a:cs typeface="+mn-cs"/>
                        </a:rPr>
                        <a:t>Consolidate Segment </a:t>
                      </a:r>
                    </a:p>
                  </a:txBody>
                  <a:tcPr>
                    <a:solidFill>
                      <a:schemeClr val="accent3"/>
                    </a:solidFill>
                  </a:tcPr>
                </a:tc>
                <a:tc>
                  <a:txBody>
                    <a:bodyPr/>
                    <a:lstStyle/>
                    <a:p>
                      <a:pPr marL="0" algn="l" defTabSz="914400" rtl="0" eaLnBrk="1" latinLnBrk="0" hangingPunct="1"/>
                      <a:endParaRPr lang="en-GB" sz="1200" kern="1200" dirty="0">
                        <a:solidFill>
                          <a:schemeClr val="dk1"/>
                        </a:solidFill>
                        <a:latin typeface="+mn-lt"/>
                        <a:ea typeface="+mn-ea"/>
                        <a:cs typeface="+mn-cs"/>
                      </a:endParaRPr>
                    </a:p>
                  </a:txBody>
                  <a:tcPr>
                    <a:solidFill>
                      <a:schemeClr val="bg1">
                        <a:lumMod val="95000"/>
                      </a:schemeClr>
                    </a:solidFill>
                  </a:tcPr>
                </a:tc>
                <a:extLst>
                  <a:ext uri="{0D108BD9-81ED-4DB2-BD59-A6C34878D82A}">
                    <a16:rowId xmlns:a16="http://schemas.microsoft.com/office/drawing/2014/main" val="387940043"/>
                  </a:ext>
                </a:extLst>
              </a:tr>
              <a:tr h="321544">
                <a:tc>
                  <a:txBody>
                    <a:bodyPr/>
                    <a:lstStyle/>
                    <a:p>
                      <a:pPr algn="r"/>
                      <a:r>
                        <a:rPr lang="en-GB" sz="1200" b="1" dirty="0"/>
                        <a:t>Segment C</a:t>
                      </a:r>
                    </a:p>
                  </a:txBody>
                  <a:tcPr>
                    <a:solidFill>
                      <a:schemeClr val="bg1">
                        <a:lumMod val="95000"/>
                      </a:schemeClr>
                    </a:solidFill>
                  </a:tcPr>
                </a:tc>
                <a:tc>
                  <a:txBody>
                    <a:bodyPr/>
                    <a:lstStyle/>
                    <a:p>
                      <a:r>
                        <a:rPr lang="en-GB" sz="1200" dirty="0"/>
                        <a:t>Maintain Segment </a:t>
                      </a:r>
                    </a:p>
                  </a:txBody>
                  <a:tcPr>
                    <a:solidFill>
                      <a:schemeClr val="accent2"/>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152720991"/>
                  </a:ext>
                </a:extLst>
              </a:tr>
              <a:tr h="32154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dirty="0"/>
                        <a:t>Segment D </a:t>
                      </a:r>
                    </a:p>
                  </a:txBody>
                  <a:tcPr>
                    <a:solidFill>
                      <a:schemeClr val="bg1">
                        <a:lumMod val="95000"/>
                      </a:schemeClr>
                    </a:solidFill>
                  </a:tcPr>
                </a:tc>
                <a:tc>
                  <a:txBody>
                    <a:bodyPr/>
                    <a:lstStyle/>
                    <a:p>
                      <a:r>
                        <a:rPr lang="en-GB" sz="1200" dirty="0"/>
                        <a:t>Maintain Segment </a:t>
                      </a:r>
                    </a:p>
                  </a:txBody>
                  <a:tcPr>
                    <a:solidFill>
                      <a:schemeClr val="accent2"/>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3338590621"/>
                  </a:ext>
                </a:extLst>
              </a:tr>
              <a:tr h="321544">
                <a:tc>
                  <a:txBody>
                    <a:bodyPr/>
                    <a:lstStyle/>
                    <a:p>
                      <a:pPr algn="l"/>
                      <a:r>
                        <a:rPr lang="en-GB" sz="1200" b="1" dirty="0"/>
                        <a:t>Categories</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4292982655"/>
                  </a:ext>
                </a:extLst>
              </a:tr>
              <a:tr h="321544">
                <a:tc>
                  <a:txBody>
                    <a:bodyPr/>
                    <a:lstStyle/>
                    <a:p>
                      <a:pPr algn="r"/>
                      <a:r>
                        <a:rPr lang="en-GB" sz="1200" b="1" dirty="0"/>
                        <a:t>Category A</a:t>
                      </a:r>
                    </a:p>
                  </a:txBody>
                  <a:tcPr>
                    <a:solidFill>
                      <a:schemeClr val="bg1">
                        <a:lumMod val="95000"/>
                      </a:schemeClr>
                    </a:solidFill>
                  </a:tcPr>
                </a:tc>
                <a:tc>
                  <a:txBody>
                    <a:bodyPr/>
                    <a:lstStyle/>
                    <a:p>
                      <a:r>
                        <a:rPr lang="en-GB" sz="1200" dirty="0"/>
                        <a:t>Focus Category </a:t>
                      </a:r>
                    </a:p>
                  </a:txBody>
                  <a:tcPr>
                    <a:solidFill>
                      <a:schemeClr val="accent6"/>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4246901403"/>
                  </a:ext>
                </a:extLst>
              </a:tr>
              <a:tr h="321544">
                <a:tc>
                  <a:txBody>
                    <a:bodyPr/>
                    <a:lstStyle/>
                    <a:p>
                      <a:pPr algn="r"/>
                      <a:r>
                        <a:rPr lang="en-GB" sz="1200" b="1" dirty="0"/>
                        <a:t>Category B</a:t>
                      </a:r>
                    </a:p>
                  </a:txBody>
                  <a:tcPr>
                    <a:solidFill>
                      <a:schemeClr val="bg1">
                        <a:lumMod val="95000"/>
                      </a:schemeClr>
                    </a:solidFill>
                  </a:tcPr>
                </a:tc>
                <a:tc>
                  <a:txBody>
                    <a:bodyPr/>
                    <a:lstStyle/>
                    <a:p>
                      <a:r>
                        <a:rPr lang="en-GB" sz="1200" dirty="0"/>
                        <a:t>Focus Category </a:t>
                      </a:r>
                    </a:p>
                  </a:txBody>
                  <a:tcPr>
                    <a:solidFill>
                      <a:schemeClr val="accent6"/>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1086604594"/>
                  </a:ext>
                </a:extLst>
              </a:tr>
              <a:tr h="32154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dirty="0"/>
                        <a:t>Category C</a:t>
                      </a:r>
                    </a:p>
                  </a:txBody>
                  <a:tcPr>
                    <a:solidFill>
                      <a:schemeClr val="bg1">
                        <a:lumMod val="95000"/>
                      </a:schemeClr>
                    </a:solidFill>
                  </a:tcPr>
                </a:tc>
                <a:tc>
                  <a:txBody>
                    <a:bodyPr/>
                    <a:lstStyle/>
                    <a:p>
                      <a:r>
                        <a:rPr lang="en-GB" sz="1200" dirty="0"/>
                        <a:t>Support Category </a:t>
                      </a:r>
                    </a:p>
                  </a:txBody>
                  <a:tcPr>
                    <a:solidFill>
                      <a:schemeClr val="accent3"/>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1942931181"/>
                  </a:ext>
                </a:extLst>
              </a:tr>
              <a:tr h="32154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dirty="0"/>
                        <a:t>Category D</a:t>
                      </a:r>
                    </a:p>
                  </a:txBody>
                  <a:tcPr>
                    <a:solidFill>
                      <a:schemeClr val="bg1">
                        <a:lumMod val="95000"/>
                      </a:schemeClr>
                    </a:solidFill>
                  </a:tcPr>
                </a:tc>
                <a:tc>
                  <a:txBody>
                    <a:bodyPr/>
                    <a:lstStyle/>
                    <a:p>
                      <a:r>
                        <a:rPr lang="en-GB" sz="1200" dirty="0"/>
                        <a:t>Maintain |category </a:t>
                      </a:r>
                    </a:p>
                  </a:txBody>
                  <a:tcPr>
                    <a:solidFill>
                      <a:schemeClr val="accent2"/>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2490979866"/>
                  </a:ext>
                </a:extLst>
              </a:tr>
            </a:tbl>
          </a:graphicData>
        </a:graphic>
      </p:graphicFrame>
    </p:spTree>
    <p:extLst>
      <p:ext uri="{BB962C8B-B14F-4D97-AF65-F5344CB8AC3E}">
        <p14:creationId xmlns:p14="http://schemas.microsoft.com/office/powerpoint/2010/main" val="3331910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A43AF00-BD5A-D419-DFE6-073B2A669DD5}"/>
              </a:ext>
            </a:extLst>
          </p:cNvPr>
          <p:cNvSpPr txBox="1"/>
          <p:nvPr/>
        </p:nvSpPr>
        <p:spPr>
          <a:xfrm>
            <a:off x="116542" y="74495"/>
            <a:ext cx="10056158" cy="800219"/>
          </a:xfrm>
          <a:prstGeom prst="rect">
            <a:avLst/>
          </a:prstGeom>
          <a:solidFill>
            <a:schemeClr val="bg1"/>
          </a:solid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a:t>
            </a: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ategory Overview </a:t>
            </a:r>
          </a:p>
        </p:txBody>
      </p:sp>
      <p:pic>
        <p:nvPicPr>
          <p:cNvPr id="3" name="Picture 2" descr="Logo&#10;&#10;Description automatically generated">
            <a:extLst>
              <a:ext uri="{FF2B5EF4-FFF2-40B4-BE49-F238E27FC236}">
                <a16:creationId xmlns:a16="http://schemas.microsoft.com/office/drawing/2014/main" id="{70DE14FA-6BD3-1326-4E43-5D8A5BE1A10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4" name="Footer Placeholder 3">
            <a:extLst>
              <a:ext uri="{FF2B5EF4-FFF2-40B4-BE49-F238E27FC236}">
                <a16:creationId xmlns:a16="http://schemas.microsoft.com/office/drawing/2014/main" id="{B4F967E1-4774-9DC4-7426-D528AF360E2D}"/>
              </a:ext>
            </a:extLst>
          </p:cNvPr>
          <p:cNvSpPr>
            <a:spLocks noGrp="1"/>
          </p:cNvSpPr>
          <p:nvPr>
            <p:ph type="ftr" sz="quarter" idx="11"/>
          </p:nvPr>
        </p:nvSpPr>
        <p:spPr>
          <a:xfrm>
            <a:off x="403860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Lato Light"/>
                <a:ea typeface="+mn-ea"/>
                <a:cs typeface="+mn-cs"/>
              </a:rPr>
              <a:t>www.upskilpro.com</a:t>
            </a:r>
            <a:endParaRPr kumimoji="0" lang="en-GB" sz="1200" b="0" i="0" u="none" strike="noStrike" kern="1200" cap="none" spc="0" normalizeH="0" baseline="0" noProof="0" dirty="0">
              <a:ln>
                <a:noFill/>
              </a:ln>
              <a:solidFill>
                <a:prstClr val="black">
                  <a:tint val="75000"/>
                </a:prstClr>
              </a:solidFill>
              <a:effectLst/>
              <a:uLnTx/>
              <a:uFillTx/>
              <a:latin typeface="Lato Light"/>
              <a:ea typeface="+mn-ea"/>
              <a:cs typeface="+mn-cs"/>
            </a:endParaRPr>
          </a:p>
        </p:txBody>
      </p:sp>
      <p:graphicFrame>
        <p:nvGraphicFramePr>
          <p:cNvPr id="5" name="Table 5">
            <a:extLst>
              <a:ext uri="{FF2B5EF4-FFF2-40B4-BE49-F238E27FC236}">
                <a16:creationId xmlns:a16="http://schemas.microsoft.com/office/drawing/2014/main" id="{44F2C7DE-16E2-BFF7-1B2F-85794C3A6AEF}"/>
              </a:ext>
            </a:extLst>
          </p:cNvPr>
          <p:cNvGraphicFramePr>
            <a:graphicFrameLocks noGrp="1"/>
          </p:cNvGraphicFramePr>
          <p:nvPr/>
        </p:nvGraphicFramePr>
        <p:xfrm>
          <a:off x="662652" y="1360339"/>
          <a:ext cx="10251591" cy="3564000"/>
        </p:xfrm>
        <a:graphic>
          <a:graphicData uri="http://schemas.openxmlformats.org/drawingml/2006/table">
            <a:tbl>
              <a:tblPr firstRow="1" bandRow="1">
                <a:tableStyleId>{5C22544A-7EE6-4342-B048-85BDC9FD1C3A}</a:tableStyleId>
              </a:tblPr>
              <a:tblGrid>
                <a:gridCol w="2747204">
                  <a:extLst>
                    <a:ext uri="{9D8B030D-6E8A-4147-A177-3AD203B41FA5}">
                      <a16:colId xmlns:a16="http://schemas.microsoft.com/office/drawing/2014/main" val="1207560090"/>
                    </a:ext>
                  </a:extLst>
                </a:gridCol>
                <a:gridCol w="2707165">
                  <a:extLst>
                    <a:ext uri="{9D8B030D-6E8A-4147-A177-3AD203B41FA5}">
                      <a16:colId xmlns:a16="http://schemas.microsoft.com/office/drawing/2014/main" val="4118078510"/>
                    </a:ext>
                  </a:extLst>
                </a:gridCol>
                <a:gridCol w="2234324">
                  <a:extLst>
                    <a:ext uri="{9D8B030D-6E8A-4147-A177-3AD203B41FA5}">
                      <a16:colId xmlns:a16="http://schemas.microsoft.com/office/drawing/2014/main" val="2559892957"/>
                    </a:ext>
                  </a:extLst>
                </a:gridCol>
                <a:gridCol w="2562898">
                  <a:extLst>
                    <a:ext uri="{9D8B030D-6E8A-4147-A177-3AD203B41FA5}">
                      <a16:colId xmlns:a16="http://schemas.microsoft.com/office/drawing/2014/main" val="364046904"/>
                    </a:ext>
                  </a:extLst>
                </a:gridCol>
              </a:tblGrid>
              <a:tr h="372898">
                <a:tc>
                  <a:txBody>
                    <a:bodyPr/>
                    <a:lstStyle/>
                    <a:p>
                      <a:r>
                        <a:rPr lang="en-GB" dirty="0"/>
                        <a:t>Business</a:t>
                      </a:r>
                    </a:p>
                  </a:txBody>
                  <a:tcPr/>
                </a:tc>
                <a:tc>
                  <a:txBody>
                    <a:bodyPr/>
                    <a:lstStyle/>
                    <a:p>
                      <a:r>
                        <a:rPr lang="en-GB" dirty="0"/>
                        <a:t>XX</a:t>
                      </a:r>
                    </a:p>
                  </a:txBody>
                  <a:tcPr/>
                </a:tc>
                <a:tc>
                  <a:txBody>
                    <a:bodyPr/>
                    <a:lstStyle/>
                    <a:p>
                      <a:r>
                        <a:rPr lang="en-GB" dirty="0"/>
                        <a:t>Market</a:t>
                      </a:r>
                    </a:p>
                  </a:txBody>
                  <a:tcPr/>
                </a:tc>
                <a:tc>
                  <a:txBody>
                    <a:bodyPr/>
                    <a:lstStyle/>
                    <a:p>
                      <a:r>
                        <a:rPr lang="en-GB" dirty="0"/>
                        <a:t>AA</a:t>
                      </a:r>
                    </a:p>
                  </a:txBody>
                  <a:tcPr/>
                </a:tc>
                <a:extLst>
                  <a:ext uri="{0D108BD9-81ED-4DB2-BD59-A6C34878D82A}">
                    <a16:rowId xmlns:a16="http://schemas.microsoft.com/office/drawing/2014/main" val="81982691"/>
                  </a:ext>
                </a:extLst>
              </a:tr>
              <a:tr h="297206">
                <a:tc>
                  <a:txBody>
                    <a:bodyPr/>
                    <a:lstStyle/>
                    <a:p>
                      <a:r>
                        <a:rPr lang="en-GB" sz="1200" dirty="0"/>
                        <a:t>Category </a:t>
                      </a:r>
                    </a:p>
                  </a:txBody>
                  <a:tcPr>
                    <a:solidFill>
                      <a:schemeClr val="bg1">
                        <a:lumMod val="95000"/>
                      </a:schemeClr>
                    </a:solidFill>
                  </a:tcPr>
                </a:tc>
                <a:tc>
                  <a:txBody>
                    <a:bodyPr/>
                    <a:lstStyle/>
                    <a:p>
                      <a:r>
                        <a:rPr lang="en-GB" sz="1200" dirty="0"/>
                        <a:t>Batteries and Chargers </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385497981"/>
                  </a:ext>
                </a:extLst>
              </a:tr>
              <a:tr h="321544">
                <a:tc>
                  <a:txBody>
                    <a:bodyPr/>
                    <a:lstStyle/>
                    <a:p>
                      <a:r>
                        <a:rPr lang="en-GB" sz="1200" dirty="0"/>
                        <a:t>Category size </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2428912356"/>
                  </a:ext>
                </a:extLst>
              </a:tr>
              <a:tr h="321544">
                <a:tc>
                  <a:txBody>
                    <a:bodyPr/>
                    <a:lstStyle/>
                    <a:p>
                      <a:r>
                        <a:rPr lang="en-GB" sz="1200" dirty="0"/>
                        <a:t>Competing Brands </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1612073081"/>
                  </a:ext>
                </a:extLst>
              </a:tr>
              <a:tr h="3215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Category segmentation</a:t>
                      </a: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118123027"/>
                  </a:ext>
                </a:extLst>
              </a:tr>
              <a:tr h="321544">
                <a:tc>
                  <a:txBody>
                    <a:bodyPr/>
                    <a:lstStyle/>
                    <a:p>
                      <a:r>
                        <a:rPr lang="en-GB" sz="1200" dirty="0"/>
                        <a:t>Dominant Channels </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4246901403"/>
                  </a:ext>
                </a:extLst>
              </a:tr>
              <a:tr h="321544">
                <a:tc>
                  <a:txBody>
                    <a:bodyPr/>
                    <a:lstStyle/>
                    <a:p>
                      <a:r>
                        <a:rPr lang="en-GB" sz="1200" dirty="0"/>
                        <a:t>Support channels </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1086604594"/>
                  </a:ext>
                </a:extLst>
              </a:tr>
              <a:tr h="321544">
                <a:tc>
                  <a:txBody>
                    <a:bodyPr/>
                    <a:lstStyle/>
                    <a:p>
                      <a:r>
                        <a:rPr lang="en-GB" sz="1200" dirty="0"/>
                        <a:t>Category size in units</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1942931181"/>
                  </a:ext>
                </a:extLst>
              </a:tr>
              <a:tr h="321544">
                <a:tc>
                  <a:txBody>
                    <a:bodyPr/>
                    <a:lstStyle/>
                    <a:p>
                      <a:r>
                        <a:rPr lang="en-GB" sz="1200" dirty="0"/>
                        <a:t>Category size in $</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2490979866"/>
                  </a:ext>
                </a:extLst>
              </a:tr>
              <a:tr h="321544">
                <a:tc>
                  <a:txBody>
                    <a:bodyPr/>
                    <a:lstStyle/>
                    <a:p>
                      <a:r>
                        <a:rPr lang="en-GB" sz="1200" dirty="0"/>
                        <a:t>Brand shares in $</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1452815385"/>
                  </a:ext>
                </a:extLst>
              </a:tr>
              <a:tr h="321544">
                <a:tc>
                  <a:txBody>
                    <a:bodyPr/>
                    <a:lstStyle/>
                    <a:p>
                      <a:r>
                        <a:rPr lang="en-GB" sz="1200" dirty="0"/>
                        <a:t>Brand shares in %</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1678758876"/>
                  </a:ext>
                </a:extLst>
              </a:tr>
            </a:tbl>
          </a:graphicData>
        </a:graphic>
      </p:graphicFrame>
      <p:sp>
        <p:nvSpPr>
          <p:cNvPr id="7" name="Rectangle 6">
            <a:extLst>
              <a:ext uri="{FF2B5EF4-FFF2-40B4-BE49-F238E27FC236}">
                <a16:creationId xmlns:a16="http://schemas.microsoft.com/office/drawing/2014/main" id="{E7054A66-440C-8443-512A-362F471E1719}"/>
              </a:ext>
            </a:extLst>
          </p:cNvPr>
          <p:cNvSpPr/>
          <p:nvPr/>
        </p:nvSpPr>
        <p:spPr>
          <a:xfrm>
            <a:off x="644134" y="5486400"/>
            <a:ext cx="10180019" cy="536028"/>
          </a:xfrm>
          <a:prstGeom prst="rect">
            <a:avLst/>
          </a:prstGeom>
          <a:solidFill>
            <a:schemeClr val="accent3">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Lato Light"/>
                <a:ea typeface="+mn-ea"/>
                <a:cs typeface="+mn-cs"/>
              </a:rPr>
              <a:t>The above data can be generally in 1 or 2 way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Lato Light"/>
                <a:ea typeface="+mn-ea"/>
                <a:cs typeface="+mn-cs"/>
              </a:rPr>
              <a:t>For some categories or companies , it may a cost that they might not to spend , in that case a market estimation using metrics is recommend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Lato Light"/>
                <a:ea typeface="+mn-ea"/>
                <a:cs typeface="+mn-cs"/>
              </a:rPr>
              <a:t>Retail audit companies and some other research companies generally provide the above data on request for a few </a:t>
            </a:r>
          </a:p>
        </p:txBody>
      </p:sp>
    </p:spTree>
    <p:extLst>
      <p:ext uri="{BB962C8B-B14F-4D97-AF65-F5344CB8AC3E}">
        <p14:creationId xmlns:p14="http://schemas.microsoft.com/office/powerpoint/2010/main" val="409409837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A43AF00-BD5A-D419-DFE6-073B2A669DD5}"/>
              </a:ext>
            </a:extLst>
          </p:cNvPr>
          <p:cNvSpPr txBox="1"/>
          <p:nvPr/>
        </p:nvSpPr>
        <p:spPr>
          <a:xfrm>
            <a:off x="116542" y="74495"/>
            <a:ext cx="10056158" cy="800219"/>
          </a:xfrm>
          <a:prstGeom prst="rect">
            <a:avLst/>
          </a:prstGeom>
          <a:solidFill>
            <a:schemeClr val="bg1"/>
          </a:solid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a:t>
            </a: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ustomer Overview </a:t>
            </a:r>
          </a:p>
        </p:txBody>
      </p:sp>
      <p:pic>
        <p:nvPicPr>
          <p:cNvPr id="3" name="Picture 2" descr="Logo&#10;&#10;Description automatically generated">
            <a:extLst>
              <a:ext uri="{FF2B5EF4-FFF2-40B4-BE49-F238E27FC236}">
                <a16:creationId xmlns:a16="http://schemas.microsoft.com/office/drawing/2014/main" id="{70DE14FA-6BD3-1326-4E43-5D8A5BE1A10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4" name="Footer Placeholder 3">
            <a:extLst>
              <a:ext uri="{FF2B5EF4-FFF2-40B4-BE49-F238E27FC236}">
                <a16:creationId xmlns:a16="http://schemas.microsoft.com/office/drawing/2014/main" id="{B4F967E1-4774-9DC4-7426-D528AF360E2D}"/>
              </a:ext>
            </a:extLst>
          </p:cNvPr>
          <p:cNvSpPr>
            <a:spLocks noGrp="1"/>
          </p:cNvSpPr>
          <p:nvPr>
            <p:ph type="ftr" sz="quarter" idx="11"/>
          </p:nvPr>
        </p:nvSpPr>
        <p:spPr>
          <a:xfrm>
            <a:off x="403860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Lato Light"/>
                <a:ea typeface="+mn-ea"/>
                <a:cs typeface="+mn-cs"/>
              </a:rPr>
              <a:t>www.upskilpro.com</a:t>
            </a:r>
            <a:endParaRPr kumimoji="0" lang="en-GB" sz="1200" b="0" i="0" u="none" strike="noStrike" kern="1200" cap="none" spc="0" normalizeH="0" baseline="0" noProof="0" dirty="0">
              <a:ln>
                <a:noFill/>
              </a:ln>
              <a:solidFill>
                <a:prstClr val="black">
                  <a:tint val="75000"/>
                </a:prstClr>
              </a:solidFill>
              <a:effectLst/>
              <a:uLnTx/>
              <a:uFillTx/>
              <a:latin typeface="Lato Light"/>
              <a:ea typeface="+mn-ea"/>
              <a:cs typeface="+mn-cs"/>
            </a:endParaRPr>
          </a:p>
        </p:txBody>
      </p:sp>
      <p:graphicFrame>
        <p:nvGraphicFramePr>
          <p:cNvPr id="5" name="Table 5">
            <a:extLst>
              <a:ext uri="{FF2B5EF4-FFF2-40B4-BE49-F238E27FC236}">
                <a16:creationId xmlns:a16="http://schemas.microsoft.com/office/drawing/2014/main" id="{44F2C7DE-16E2-BFF7-1B2F-85794C3A6AEF}"/>
              </a:ext>
            </a:extLst>
          </p:cNvPr>
          <p:cNvGraphicFramePr>
            <a:graphicFrameLocks noGrp="1"/>
          </p:cNvGraphicFramePr>
          <p:nvPr/>
        </p:nvGraphicFramePr>
        <p:xfrm>
          <a:off x="725714" y="1054038"/>
          <a:ext cx="10251591" cy="4431280"/>
        </p:xfrm>
        <a:graphic>
          <a:graphicData uri="http://schemas.openxmlformats.org/drawingml/2006/table">
            <a:tbl>
              <a:tblPr firstRow="1" bandRow="1">
                <a:tableStyleId>{5C22544A-7EE6-4342-B048-85BDC9FD1C3A}</a:tableStyleId>
              </a:tblPr>
              <a:tblGrid>
                <a:gridCol w="2747204">
                  <a:extLst>
                    <a:ext uri="{9D8B030D-6E8A-4147-A177-3AD203B41FA5}">
                      <a16:colId xmlns:a16="http://schemas.microsoft.com/office/drawing/2014/main" val="1207560090"/>
                    </a:ext>
                  </a:extLst>
                </a:gridCol>
                <a:gridCol w="2707165">
                  <a:extLst>
                    <a:ext uri="{9D8B030D-6E8A-4147-A177-3AD203B41FA5}">
                      <a16:colId xmlns:a16="http://schemas.microsoft.com/office/drawing/2014/main" val="4118078510"/>
                    </a:ext>
                  </a:extLst>
                </a:gridCol>
                <a:gridCol w="2234324">
                  <a:extLst>
                    <a:ext uri="{9D8B030D-6E8A-4147-A177-3AD203B41FA5}">
                      <a16:colId xmlns:a16="http://schemas.microsoft.com/office/drawing/2014/main" val="2559892957"/>
                    </a:ext>
                  </a:extLst>
                </a:gridCol>
                <a:gridCol w="2562898">
                  <a:extLst>
                    <a:ext uri="{9D8B030D-6E8A-4147-A177-3AD203B41FA5}">
                      <a16:colId xmlns:a16="http://schemas.microsoft.com/office/drawing/2014/main" val="364046904"/>
                    </a:ext>
                  </a:extLst>
                </a:gridCol>
              </a:tblGrid>
              <a:tr h="372898">
                <a:tc>
                  <a:txBody>
                    <a:bodyPr/>
                    <a:lstStyle/>
                    <a:p>
                      <a:pPr algn="ctr"/>
                      <a:r>
                        <a:rPr lang="en-GB" sz="1400" dirty="0">
                          <a:solidFill>
                            <a:schemeClr val="bg1"/>
                          </a:solidFill>
                        </a:rPr>
                        <a:t>Business</a:t>
                      </a:r>
                    </a:p>
                  </a:txBody>
                  <a:tcPr/>
                </a:tc>
                <a:tc>
                  <a:txBody>
                    <a:bodyPr/>
                    <a:lstStyle/>
                    <a:p>
                      <a:pPr algn="ctr"/>
                      <a:r>
                        <a:rPr lang="en-GB" sz="1400" dirty="0">
                          <a:solidFill>
                            <a:schemeClr val="bg1"/>
                          </a:solidFill>
                        </a:rPr>
                        <a:t>Country </a:t>
                      </a:r>
                    </a:p>
                  </a:txBody>
                  <a:tcPr/>
                </a:tc>
                <a:tc>
                  <a:txBody>
                    <a:bodyPr/>
                    <a:lstStyle/>
                    <a:p>
                      <a:pPr algn="ctr"/>
                      <a:r>
                        <a:rPr lang="en-GB" sz="1400" dirty="0">
                          <a:solidFill>
                            <a:schemeClr val="bg1"/>
                          </a:solidFill>
                        </a:rPr>
                        <a:t>State </a:t>
                      </a:r>
                    </a:p>
                  </a:txBody>
                  <a:tcPr/>
                </a:tc>
                <a:tc>
                  <a:txBody>
                    <a:bodyPr/>
                    <a:lstStyle/>
                    <a:p>
                      <a:pPr algn="ctr"/>
                      <a:r>
                        <a:rPr lang="en-GB" sz="1400" dirty="0">
                          <a:solidFill>
                            <a:schemeClr val="bg1"/>
                          </a:solidFill>
                        </a:rPr>
                        <a:t>City </a:t>
                      </a:r>
                    </a:p>
                  </a:txBody>
                  <a:tcPr/>
                </a:tc>
                <a:extLst>
                  <a:ext uri="{0D108BD9-81ED-4DB2-BD59-A6C34878D82A}">
                    <a16:rowId xmlns:a16="http://schemas.microsoft.com/office/drawing/2014/main" val="81982691"/>
                  </a:ext>
                </a:extLst>
              </a:tr>
              <a:tr h="297206">
                <a:tc>
                  <a:txBody>
                    <a:bodyPr/>
                    <a:lstStyle/>
                    <a:p>
                      <a:r>
                        <a:rPr lang="en-GB" sz="1200" dirty="0"/>
                        <a:t>Customer</a:t>
                      </a:r>
                    </a:p>
                  </a:txBody>
                  <a:tcPr>
                    <a:solidFill>
                      <a:schemeClr val="bg1">
                        <a:lumMod val="95000"/>
                      </a:schemeClr>
                    </a:solidFill>
                  </a:tcPr>
                </a:tc>
                <a:tc>
                  <a:txBody>
                    <a:bodyPr/>
                    <a:lstStyle/>
                    <a:p>
                      <a:r>
                        <a:rPr lang="en-GB" sz="1200" dirty="0"/>
                        <a:t>Pentagon Enterprises LLC , Florida </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3073184419"/>
                  </a:ext>
                </a:extLst>
              </a:tr>
              <a:tr h="29720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Category</a:t>
                      </a:r>
                    </a:p>
                  </a:txBody>
                  <a:tcPr>
                    <a:solidFill>
                      <a:schemeClr val="bg1">
                        <a:lumMod val="95000"/>
                      </a:schemeClr>
                    </a:solidFill>
                  </a:tcPr>
                </a:tc>
                <a:tc>
                  <a:txBody>
                    <a:bodyPr/>
                    <a:lstStyle/>
                    <a:p>
                      <a:r>
                        <a:rPr lang="en-GB" sz="1200" dirty="0"/>
                        <a:t>Batteries and Chargers </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816221093"/>
                  </a:ext>
                </a:extLst>
              </a:tr>
              <a:tr h="297206">
                <a:tc>
                  <a:txBody>
                    <a:bodyPr/>
                    <a:lstStyle/>
                    <a:p>
                      <a:r>
                        <a:rPr lang="en-GB" sz="1200" dirty="0"/>
                        <a:t>Brand </a:t>
                      </a:r>
                    </a:p>
                  </a:txBody>
                  <a:tcPr>
                    <a:solidFill>
                      <a:schemeClr val="bg1">
                        <a:lumMod val="95000"/>
                      </a:schemeClr>
                    </a:solidFill>
                  </a:tcPr>
                </a:tc>
                <a:tc>
                  <a:txBody>
                    <a:bodyPr/>
                    <a:lstStyle/>
                    <a:p>
                      <a:pPr algn="l"/>
                      <a:r>
                        <a:rPr lang="en-GB" sz="1200" dirty="0">
                          <a:solidFill>
                            <a:schemeClr val="tx1"/>
                          </a:solidFill>
                        </a:rPr>
                        <a:t>Cider Batteries</a:t>
                      </a:r>
                    </a:p>
                  </a:txBody>
                  <a:tcPr>
                    <a:solidFill>
                      <a:schemeClr val="bg1">
                        <a:lumMod val="95000"/>
                      </a:schemeClr>
                    </a:solidFill>
                  </a:tcPr>
                </a:tc>
                <a:tc>
                  <a:txBody>
                    <a:bodyPr/>
                    <a:lstStyle/>
                    <a:p>
                      <a:pPr algn="ctr"/>
                      <a:endParaRPr lang="en-GB" sz="1200" dirty="0">
                        <a:solidFill>
                          <a:schemeClr val="tx1"/>
                        </a:solidFill>
                      </a:endParaRPr>
                    </a:p>
                  </a:txBody>
                  <a:tcPr>
                    <a:solidFill>
                      <a:schemeClr val="bg1">
                        <a:lumMod val="95000"/>
                      </a:schemeClr>
                    </a:solidFill>
                  </a:tcPr>
                </a:tc>
                <a:tc>
                  <a:txBody>
                    <a:bodyPr/>
                    <a:lstStyle/>
                    <a:p>
                      <a:pPr algn="ctr"/>
                      <a:endParaRPr lang="en-GB" sz="1200" dirty="0">
                        <a:solidFill>
                          <a:schemeClr val="tx1"/>
                        </a:solidFill>
                      </a:endParaRPr>
                    </a:p>
                  </a:txBody>
                  <a:tcPr>
                    <a:solidFill>
                      <a:schemeClr val="bg1">
                        <a:lumMod val="95000"/>
                      </a:schemeClr>
                    </a:solidFill>
                  </a:tcPr>
                </a:tc>
                <a:extLst>
                  <a:ext uri="{0D108BD9-81ED-4DB2-BD59-A6C34878D82A}">
                    <a16:rowId xmlns:a16="http://schemas.microsoft.com/office/drawing/2014/main" val="1130243688"/>
                  </a:ext>
                </a:extLst>
              </a:tr>
              <a:tr h="297206">
                <a:tc>
                  <a:txBody>
                    <a:bodyPr/>
                    <a:lstStyle/>
                    <a:p>
                      <a:endParaRPr lang="en-GB" sz="1200" dirty="0"/>
                    </a:p>
                  </a:txBody>
                  <a:tcPr>
                    <a:solidFill>
                      <a:schemeClr val="bg1">
                        <a:lumMod val="95000"/>
                      </a:schemeClr>
                    </a:solidFill>
                  </a:tcPr>
                </a:tc>
                <a:tc>
                  <a:txBody>
                    <a:bodyPr/>
                    <a:lstStyle/>
                    <a:p>
                      <a:pPr algn="ctr"/>
                      <a:r>
                        <a:rPr lang="en-GB" sz="1200" dirty="0">
                          <a:solidFill>
                            <a:schemeClr val="bg1"/>
                          </a:solidFill>
                        </a:rPr>
                        <a:t>Previous year </a:t>
                      </a:r>
                    </a:p>
                  </a:txBody>
                  <a:tcPr>
                    <a:solidFill>
                      <a:schemeClr val="accent1"/>
                    </a:solidFill>
                  </a:tcPr>
                </a:tc>
                <a:tc>
                  <a:txBody>
                    <a:bodyPr/>
                    <a:lstStyle/>
                    <a:p>
                      <a:pPr algn="ctr"/>
                      <a:r>
                        <a:rPr lang="en-GB" sz="1200" dirty="0">
                          <a:solidFill>
                            <a:schemeClr val="bg1"/>
                          </a:solidFill>
                        </a:rPr>
                        <a:t>Last Year </a:t>
                      </a:r>
                    </a:p>
                  </a:txBody>
                  <a:tcPr>
                    <a:solidFill>
                      <a:schemeClr val="accent1"/>
                    </a:solidFill>
                  </a:tcPr>
                </a:tc>
                <a:tc>
                  <a:txBody>
                    <a:bodyPr/>
                    <a:lstStyle/>
                    <a:p>
                      <a:pPr algn="ctr"/>
                      <a:r>
                        <a:rPr lang="en-GB" sz="1200" dirty="0">
                          <a:solidFill>
                            <a:schemeClr val="bg1"/>
                          </a:solidFill>
                        </a:rPr>
                        <a:t>This Year </a:t>
                      </a:r>
                    </a:p>
                  </a:txBody>
                  <a:tcPr>
                    <a:solidFill>
                      <a:schemeClr val="accent1"/>
                    </a:solidFill>
                  </a:tcPr>
                </a:tc>
                <a:extLst>
                  <a:ext uri="{0D108BD9-81ED-4DB2-BD59-A6C34878D82A}">
                    <a16:rowId xmlns:a16="http://schemas.microsoft.com/office/drawing/2014/main" val="2574141459"/>
                  </a:ext>
                </a:extLst>
              </a:tr>
              <a:tr h="29720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Category size </a:t>
                      </a:r>
                    </a:p>
                  </a:txBody>
                  <a:tcPr>
                    <a:solidFill>
                      <a:schemeClr val="bg1">
                        <a:lumMod val="95000"/>
                      </a:schemeClr>
                    </a:solidFill>
                  </a:tcPr>
                </a:tc>
                <a:tc>
                  <a:txBody>
                    <a:bodyPr/>
                    <a:lstStyle/>
                    <a:p>
                      <a:r>
                        <a:rPr lang="en-GB" sz="1200" dirty="0"/>
                        <a:t>459 mn $</a:t>
                      </a:r>
                    </a:p>
                  </a:txBody>
                  <a:tcPr>
                    <a:solidFill>
                      <a:schemeClr val="bg1">
                        <a:lumMod val="95000"/>
                      </a:schemeClr>
                    </a:solidFill>
                  </a:tcPr>
                </a:tc>
                <a:tc>
                  <a:txBody>
                    <a:bodyPr/>
                    <a:lstStyle/>
                    <a:p>
                      <a:r>
                        <a:rPr lang="en-GB" sz="1200" dirty="0"/>
                        <a:t>512 mn $</a:t>
                      </a:r>
                    </a:p>
                  </a:txBody>
                  <a:tcPr>
                    <a:solidFill>
                      <a:schemeClr val="bg1">
                        <a:lumMod val="95000"/>
                      </a:schemeClr>
                    </a:solidFill>
                  </a:tcPr>
                </a:tc>
                <a:tc>
                  <a:txBody>
                    <a:bodyPr/>
                    <a:lstStyle/>
                    <a:p>
                      <a:r>
                        <a:rPr lang="en-GB" sz="1200" dirty="0"/>
                        <a:t>569Mn$</a:t>
                      </a:r>
                    </a:p>
                  </a:txBody>
                  <a:tcPr>
                    <a:solidFill>
                      <a:schemeClr val="bg1">
                        <a:lumMod val="95000"/>
                      </a:schemeClr>
                    </a:solidFill>
                  </a:tcPr>
                </a:tc>
                <a:extLst>
                  <a:ext uri="{0D108BD9-81ED-4DB2-BD59-A6C34878D82A}">
                    <a16:rowId xmlns:a16="http://schemas.microsoft.com/office/drawing/2014/main" val="385497981"/>
                  </a:ext>
                </a:extLst>
              </a:tr>
              <a:tr h="321544">
                <a:tc>
                  <a:txBody>
                    <a:bodyPr/>
                    <a:lstStyle/>
                    <a:p>
                      <a:r>
                        <a:rPr lang="en-GB" sz="1200" dirty="0"/>
                        <a:t>Customer Size / Turnover </a:t>
                      </a:r>
                    </a:p>
                  </a:txBody>
                  <a:tcPr>
                    <a:solidFill>
                      <a:schemeClr val="bg1">
                        <a:lumMod val="95000"/>
                      </a:schemeClr>
                    </a:solidFill>
                  </a:tcPr>
                </a:tc>
                <a:tc>
                  <a:txBody>
                    <a:bodyPr/>
                    <a:lstStyle/>
                    <a:p>
                      <a:r>
                        <a:rPr lang="en-GB" sz="1200" dirty="0"/>
                        <a:t>35.00 Mn $</a:t>
                      </a:r>
                    </a:p>
                  </a:txBody>
                  <a:tcPr>
                    <a:solidFill>
                      <a:schemeClr val="bg1">
                        <a:lumMod val="95000"/>
                      </a:schemeClr>
                    </a:solidFill>
                  </a:tcPr>
                </a:tc>
                <a:tc>
                  <a:txBody>
                    <a:bodyPr/>
                    <a:lstStyle/>
                    <a:p>
                      <a:r>
                        <a:rPr lang="en-GB" sz="1200" dirty="0"/>
                        <a:t>36.9mn$</a:t>
                      </a:r>
                    </a:p>
                  </a:txBody>
                  <a:tcPr>
                    <a:solidFill>
                      <a:schemeClr val="bg1">
                        <a:lumMod val="95000"/>
                      </a:schemeClr>
                    </a:solidFill>
                  </a:tcPr>
                </a:tc>
                <a:tc>
                  <a:txBody>
                    <a:bodyPr/>
                    <a:lstStyle/>
                    <a:p>
                      <a:r>
                        <a:rPr lang="en-GB" sz="1200" dirty="0"/>
                        <a:t>39.1 Mn $ ( Est ) </a:t>
                      </a:r>
                    </a:p>
                  </a:txBody>
                  <a:tcPr>
                    <a:solidFill>
                      <a:schemeClr val="bg1">
                        <a:lumMod val="95000"/>
                      </a:schemeClr>
                    </a:solidFill>
                  </a:tcPr>
                </a:tc>
                <a:extLst>
                  <a:ext uri="{0D108BD9-81ED-4DB2-BD59-A6C34878D82A}">
                    <a16:rowId xmlns:a16="http://schemas.microsoft.com/office/drawing/2014/main" val="2428912356"/>
                  </a:ext>
                </a:extLst>
              </a:tr>
              <a:tr h="321544">
                <a:tc>
                  <a:txBody>
                    <a:bodyPr/>
                    <a:lstStyle/>
                    <a:p>
                      <a:r>
                        <a:rPr lang="en-GB" sz="1200" dirty="0"/>
                        <a:t>Competing Brands </a:t>
                      </a:r>
                    </a:p>
                  </a:txBody>
                  <a:tcPr>
                    <a:solidFill>
                      <a:schemeClr val="bg1">
                        <a:lumMod val="95000"/>
                      </a:schemeClr>
                    </a:solidFill>
                  </a:tcPr>
                </a:tc>
                <a:tc>
                  <a:txBody>
                    <a:bodyPr/>
                    <a:lstStyle/>
                    <a:p>
                      <a:r>
                        <a:rPr lang="en-GB" sz="1200" dirty="0"/>
                        <a:t>None </a:t>
                      </a: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Competing brand XX</a:t>
                      </a:r>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1612073081"/>
                  </a:ext>
                </a:extLst>
              </a:tr>
              <a:tr h="321544">
                <a:tc>
                  <a:txBody>
                    <a:bodyPr/>
                    <a:lstStyle/>
                    <a:p>
                      <a:r>
                        <a:rPr lang="en-GB" sz="1200" dirty="0"/>
                        <a:t>Dominant Channels </a:t>
                      </a:r>
                    </a:p>
                  </a:txBody>
                  <a:tcPr>
                    <a:solidFill>
                      <a:schemeClr val="bg1">
                        <a:lumMod val="95000"/>
                      </a:schemeClr>
                    </a:solidFill>
                  </a:tcPr>
                </a:tc>
                <a:tc>
                  <a:txBody>
                    <a:bodyPr/>
                    <a:lstStyle/>
                    <a:p>
                      <a:r>
                        <a:rPr lang="en-GB" sz="1200" dirty="0"/>
                        <a:t>Garages &amp; Dealerships  </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4246901403"/>
                  </a:ext>
                </a:extLst>
              </a:tr>
              <a:tr h="321544">
                <a:tc>
                  <a:txBody>
                    <a:bodyPr/>
                    <a:lstStyle/>
                    <a:p>
                      <a:r>
                        <a:rPr lang="en-GB" sz="1200" dirty="0"/>
                        <a:t>Support channels </a:t>
                      </a:r>
                    </a:p>
                  </a:txBody>
                  <a:tcPr>
                    <a:solidFill>
                      <a:schemeClr val="bg1">
                        <a:lumMod val="95000"/>
                      </a:schemeClr>
                    </a:solidFill>
                  </a:tcPr>
                </a:tc>
                <a:tc>
                  <a:txBody>
                    <a:bodyPr/>
                    <a:lstStyle/>
                    <a:p>
                      <a:r>
                        <a:rPr lang="en-GB" sz="1200" dirty="0"/>
                        <a:t>DIY</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1086604594"/>
                  </a:ext>
                </a:extLst>
              </a:tr>
              <a:tr h="321544">
                <a:tc>
                  <a:txBody>
                    <a:bodyPr/>
                    <a:lstStyle/>
                    <a:p>
                      <a:r>
                        <a:rPr lang="en-GB" sz="1200" dirty="0"/>
                        <a:t>Category size in units</a:t>
                      </a:r>
                    </a:p>
                  </a:txBody>
                  <a:tcPr>
                    <a:solidFill>
                      <a:schemeClr val="bg1">
                        <a:lumMod val="95000"/>
                      </a:schemeClr>
                    </a:solidFill>
                  </a:tcPr>
                </a:tc>
                <a:tc>
                  <a:txBody>
                    <a:bodyPr/>
                    <a:lstStyle/>
                    <a:p>
                      <a:r>
                        <a:rPr lang="en-GB" sz="1200" dirty="0"/>
                        <a:t>75,000</a:t>
                      </a:r>
                    </a:p>
                  </a:txBody>
                  <a:tcPr>
                    <a:solidFill>
                      <a:schemeClr val="bg1">
                        <a:lumMod val="95000"/>
                      </a:schemeClr>
                    </a:solidFill>
                  </a:tcPr>
                </a:tc>
                <a:tc>
                  <a:txBody>
                    <a:bodyPr/>
                    <a:lstStyle/>
                    <a:p>
                      <a:r>
                        <a:rPr lang="en-GB" sz="1200" dirty="0"/>
                        <a:t>82500</a:t>
                      </a:r>
                    </a:p>
                  </a:txBody>
                  <a:tcPr>
                    <a:solidFill>
                      <a:schemeClr val="bg1">
                        <a:lumMod val="95000"/>
                      </a:schemeClr>
                    </a:solidFill>
                  </a:tcPr>
                </a:tc>
                <a:tc>
                  <a:txBody>
                    <a:bodyPr/>
                    <a:lstStyle/>
                    <a:p>
                      <a:r>
                        <a:rPr lang="en-GB" sz="1200" dirty="0"/>
                        <a:t>90150 Est</a:t>
                      </a:r>
                    </a:p>
                  </a:txBody>
                  <a:tcPr>
                    <a:solidFill>
                      <a:schemeClr val="bg1">
                        <a:lumMod val="95000"/>
                      </a:schemeClr>
                    </a:solidFill>
                  </a:tcPr>
                </a:tc>
                <a:extLst>
                  <a:ext uri="{0D108BD9-81ED-4DB2-BD59-A6C34878D82A}">
                    <a16:rowId xmlns:a16="http://schemas.microsoft.com/office/drawing/2014/main" val="1942931181"/>
                  </a:ext>
                </a:extLst>
              </a:tr>
              <a:tr h="321544">
                <a:tc>
                  <a:txBody>
                    <a:bodyPr/>
                    <a:lstStyle/>
                    <a:p>
                      <a:r>
                        <a:rPr lang="en-GB" sz="1200" dirty="0"/>
                        <a:t>Category size in $</a:t>
                      </a:r>
                    </a:p>
                  </a:txBody>
                  <a:tcPr>
                    <a:solidFill>
                      <a:schemeClr val="bg1">
                        <a:lumMod val="95000"/>
                      </a:schemeClr>
                    </a:solidFill>
                  </a:tcPr>
                </a:tc>
                <a:tc>
                  <a:txBody>
                    <a:bodyPr/>
                    <a:lstStyle/>
                    <a:p>
                      <a:r>
                        <a:rPr lang="en-GB" sz="1200" dirty="0"/>
                        <a:t>459 mn $</a:t>
                      </a:r>
                    </a:p>
                  </a:txBody>
                  <a:tcPr>
                    <a:solidFill>
                      <a:schemeClr val="bg1">
                        <a:lumMod val="95000"/>
                      </a:schemeClr>
                    </a:solidFill>
                  </a:tcPr>
                </a:tc>
                <a:tc>
                  <a:txBody>
                    <a:bodyPr/>
                    <a:lstStyle/>
                    <a:p>
                      <a:r>
                        <a:rPr lang="en-GB" sz="1200" dirty="0"/>
                        <a:t>512 mn $</a:t>
                      </a:r>
                    </a:p>
                  </a:txBody>
                  <a:tcPr>
                    <a:solidFill>
                      <a:schemeClr val="bg1">
                        <a:lumMod val="95000"/>
                      </a:schemeClr>
                    </a:solidFill>
                  </a:tcPr>
                </a:tc>
                <a:tc>
                  <a:txBody>
                    <a:bodyPr/>
                    <a:lstStyle/>
                    <a:p>
                      <a:r>
                        <a:rPr lang="en-GB" sz="1200" dirty="0"/>
                        <a:t>529Mn$</a:t>
                      </a:r>
                    </a:p>
                  </a:txBody>
                  <a:tcPr>
                    <a:solidFill>
                      <a:schemeClr val="bg1">
                        <a:lumMod val="95000"/>
                      </a:schemeClr>
                    </a:solidFill>
                  </a:tcPr>
                </a:tc>
                <a:extLst>
                  <a:ext uri="{0D108BD9-81ED-4DB2-BD59-A6C34878D82A}">
                    <a16:rowId xmlns:a16="http://schemas.microsoft.com/office/drawing/2014/main" val="2490979866"/>
                  </a:ext>
                </a:extLst>
              </a:tr>
              <a:tr h="321544">
                <a:tc>
                  <a:txBody>
                    <a:bodyPr/>
                    <a:lstStyle/>
                    <a:p>
                      <a:r>
                        <a:rPr lang="en-GB" sz="1200" dirty="0"/>
                        <a:t>Brand shares in $</a:t>
                      </a:r>
                    </a:p>
                  </a:txBody>
                  <a:tcPr>
                    <a:solidFill>
                      <a:schemeClr val="bg1">
                        <a:lumMod val="95000"/>
                      </a:schemeClr>
                    </a:solidFill>
                  </a:tcPr>
                </a:tc>
                <a:tc>
                  <a:txBody>
                    <a:bodyPr/>
                    <a:lstStyle/>
                    <a:p>
                      <a:r>
                        <a:rPr lang="en-GB" sz="1200" dirty="0"/>
                        <a:t>7.6%</a:t>
                      </a:r>
                    </a:p>
                  </a:txBody>
                  <a:tcPr>
                    <a:solidFill>
                      <a:schemeClr val="bg1">
                        <a:lumMod val="95000"/>
                      </a:schemeClr>
                    </a:solidFill>
                  </a:tcPr>
                </a:tc>
                <a:tc>
                  <a:txBody>
                    <a:bodyPr/>
                    <a:lstStyle/>
                    <a:p>
                      <a:r>
                        <a:rPr lang="en-GB" sz="1200" dirty="0"/>
                        <a:t>7.20 %</a:t>
                      </a:r>
                    </a:p>
                  </a:txBody>
                  <a:tcPr>
                    <a:solidFill>
                      <a:schemeClr val="bg1">
                        <a:lumMod val="95000"/>
                      </a:schemeClr>
                    </a:solidFill>
                  </a:tcPr>
                </a:tc>
                <a:tc>
                  <a:txBody>
                    <a:bodyPr/>
                    <a:lstStyle/>
                    <a:p>
                      <a:r>
                        <a:rPr lang="en-GB" sz="1200" dirty="0"/>
                        <a:t>7.39%</a:t>
                      </a:r>
                    </a:p>
                  </a:txBody>
                  <a:tcPr>
                    <a:solidFill>
                      <a:schemeClr val="bg1">
                        <a:lumMod val="95000"/>
                      </a:schemeClr>
                    </a:solidFill>
                  </a:tcPr>
                </a:tc>
                <a:extLst>
                  <a:ext uri="{0D108BD9-81ED-4DB2-BD59-A6C34878D82A}">
                    <a16:rowId xmlns:a16="http://schemas.microsoft.com/office/drawing/2014/main" val="1452815385"/>
                  </a:ext>
                </a:extLst>
              </a:tr>
              <a:tr h="321544">
                <a:tc>
                  <a:txBody>
                    <a:bodyPr/>
                    <a:lstStyle/>
                    <a:p>
                      <a:r>
                        <a:rPr lang="en-GB" sz="1200" dirty="0"/>
                        <a:t>Brand shares in %</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1678758876"/>
                  </a:ext>
                </a:extLst>
              </a:tr>
            </a:tbl>
          </a:graphicData>
        </a:graphic>
      </p:graphicFrame>
      <p:sp>
        <p:nvSpPr>
          <p:cNvPr id="7" name="Rectangle 6">
            <a:extLst>
              <a:ext uri="{FF2B5EF4-FFF2-40B4-BE49-F238E27FC236}">
                <a16:creationId xmlns:a16="http://schemas.microsoft.com/office/drawing/2014/main" id="{E7054A66-440C-8443-512A-362F471E1719}"/>
              </a:ext>
            </a:extLst>
          </p:cNvPr>
          <p:cNvSpPr/>
          <p:nvPr/>
        </p:nvSpPr>
        <p:spPr>
          <a:xfrm>
            <a:off x="675665" y="5833241"/>
            <a:ext cx="10180019" cy="536028"/>
          </a:xfrm>
          <a:prstGeom prst="rect">
            <a:avLst/>
          </a:prstGeom>
          <a:solidFill>
            <a:schemeClr val="accent3">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Lato Light"/>
                <a:ea typeface="+mn-ea"/>
                <a:cs typeface="+mn-cs"/>
              </a:rPr>
              <a:t>The data above is mainly pertinent to Trade marketing requirements as a basic format  , this is not to be mistaken as a key account template or set of information for the purposes of the exercise </a:t>
            </a:r>
          </a:p>
        </p:txBody>
      </p:sp>
    </p:spTree>
    <p:extLst>
      <p:ext uri="{BB962C8B-B14F-4D97-AF65-F5344CB8AC3E}">
        <p14:creationId xmlns:p14="http://schemas.microsoft.com/office/powerpoint/2010/main" val="339576685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A43AF00-BD5A-D419-DFE6-073B2A669DD5}"/>
              </a:ext>
            </a:extLst>
          </p:cNvPr>
          <p:cNvSpPr txBox="1"/>
          <p:nvPr/>
        </p:nvSpPr>
        <p:spPr>
          <a:xfrm>
            <a:off x="116542" y="74495"/>
            <a:ext cx="10056158" cy="800219"/>
          </a:xfrm>
          <a:prstGeom prst="rect">
            <a:avLst/>
          </a:prstGeom>
          <a:solidFill>
            <a:schemeClr val="bg1"/>
          </a:solid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a:t>
            </a: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hannel Overview </a:t>
            </a:r>
          </a:p>
        </p:txBody>
      </p:sp>
      <p:pic>
        <p:nvPicPr>
          <p:cNvPr id="3" name="Picture 2" descr="Logo&#10;&#10;Description automatically generated">
            <a:extLst>
              <a:ext uri="{FF2B5EF4-FFF2-40B4-BE49-F238E27FC236}">
                <a16:creationId xmlns:a16="http://schemas.microsoft.com/office/drawing/2014/main" id="{70DE14FA-6BD3-1326-4E43-5D8A5BE1A10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4" name="Footer Placeholder 3">
            <a:extLst>
              <a:ext uri="{FF2B5EF4-FFF2-40B4-BE49-F238E27FC236}">
                <a16:creationId xmlns:a16="http://schemas.microsoft.com/office/drawing/2014/main" id="{B4F967E1-4774-9DC4-7426-D528AF360E2D}"/>
              </a:ext>
            </a:extLst>
          </p:cNvPr>
          <p:cNvSpPr>
            <a:spLocks noGrp="1"/>
          </p:cNvSpPr>
          <p:nvPr>
            <p:ph type="ftr" sz="quarter" idx="11"/>
          </p:nvPr>
        </p:nvSpPr>
        <p:spPr>
          <a:xfrm>
            <a:off x="403860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Lato Light"/>
                <a:ea typeface="+mn-ea"/>
                <a:cs typeface="+mn-cs"/>
              </a:rPr>
              <a:t>www.upskilpro.com</a:t>
            </a:r>
            <a:endParaRPr kumimoji="0" lang="en-GB" sz="1200" b="0" i="0" u="none" strike="noStrike" kern="1200" cap="none" spc="0" normalizeH="0" baseline="0" noProof="0" dirty="0">
              <a:ln>
                <a:noFill/>
              </a:ln>
              <a:solidFill>
                <a:prstClr val="black">
                  <a:tint val="75000"/>
                </a:prstClr>
              </a:solidFill>
              <a:effectLst/>
              <a:uLnTx/>
              <a:uFillTx/>
              <a:latin typeface="Lato Light"/>
              <a:ea typeface="+mn-ea"/>
              <a:cs typeface="+mn-cs"/>
            </a:endParaRPr>
          </a:p>
        </p:txBody>
      </p:sp>
      <p:graphicFrame>
        <p:nvGraphicFramePr>
          <p:cNvPr id="6" name="Table 5">
            <a:extLst>
              <a:ext uri="{FF2B5EF4-FFF2-40B4-BE49-F238E27FC236}">
                <a16:creationId xmlns:a16="http://schemas.microsoft.com/office/drawing/2014/main" id="{B200361E-6F21-9967-676D-C70490A5372F}"/>
              </a:ext>
            </a:extLst>
          </p:cNvPr>
          <p:cNvGraphicFramePr>
            <a:graphicFrameLocks noGrp="1"/>
          </p:cNvGraphicFramePr>
          <p:nvPr/>
        </p:nvGraphicFramePr>
        <p:xfrm>
          <a:off x="1216106" y="939233"/>
          <a:ext cx="10251591" cy="5493264"/>
        </p:xfrm>
        <a:graphic>
          <a:graphicData uri="http://schemas.openxmlformats.org/drawingml/2006/table">
            <a:tbl>
              <a:tblPr firstRow="1" bandRow="1">
                <a:tableStyleId>{5C22544A-7EE6-4342-B048-85BDC9FD1C3A}</a:tableStyleId>
              </a:tblPr>
              <a:tblGrid>
                <a:gridCol w="2747204">
                  <a:extLst>
                    <a:ext uri="{9D8B030D-6E8A-4147-A177-3AD203B41FA5}">
                      <a16:colId xmlns:a16="http://schemas.microsoft.com/office/drawing/2014/main" val="1207560090"/>
                    </a:ext>
                  </a:extLst>
                </a:gridCol>
                <a:gridCol w="2707165">
                  <a:extLst>
                    <a:ext uri="{9D8B030D-6E8A-4147-A177-3AD203B41FA5}">
                      <a16:colId xmlns:a16="http://schemas.microsoft.com/office/drawing/2014/main" val="4118078510"/>
                    </a:ext>
                  </a:extLst>
                </a:gridCol>
                <a:gridCol w="2234324">
                  <a:extLst>
                    <a:ext uri="{9D8B030D-6E8A-4147-A177-3AD203B41FA5}">
                      <a16:colId xmlns:a16="http://schemas.microsoft.com/office/drawing/2014/main" val="2559892957"/>
                    </a:ext>
                  </a:extLst>
                </a:gridCol>
                <a:gridCol w="2562898">
                  <a:extLst>
                    <a:ext uri="{9D8B030D-6E8A-4147-A177-3AD203B41FA5}">
                      <a16:colId xmlns:a16="http://schemas.microsoft.com/office/drawing/2014/main" val="364046904"/>
                    </a:ext>
                  </a:extLst>
                </a:gridCol>
              </a:tblGrid>
              <a:tr h="372898">
                <a:tc>
                  <a:txBody>
                    <a:bodyPr/>
                    <a:lstStyle/>
                    <a:p>
                      <a:r>
                        <a:rPr lang="en-GB" dirty="0"/>
                        <a:t>Business</a:t>
                      </a:r>
                    </a:p>
                  </a:txBody>
                  <a:tcPr/>
                </a:tc>
                <a:tc>
                  <a:txBody>
                    <a:bodyPr/>
                    <a:lstStyle/>
                    <a:p>
                      <a:r>
                        <a:rPr lang="en-GB" dirty="0"/>
                        <a:t>XX</a:t>
                      </a:r>
                    </a:p>
                  </a:txBody>
                  <a:tcPr/>
                </a:tc>
                <a:tc>
                  <a:txBody>
                    <a:bodyPr/>
                    <a:lstStyle/>
                    <a:p>
                      <a:r>
                        <a:rPr lang="en-GB" dirty="0"/>
                        <a:t>Market</a:t>
                      </a:r>
                    </a:p>
                  </a:txBody>
                  <a:tcPr/>
                </a:tc>
                <a:tc>
                  <a:txBody>
                    <a:bodyPr/>
                    <a:lstStyle/>
                    <a:p>
                      <a:r>
                        <a:rPr lang="en-GB" dirty="0"/>
                        <a:t>AA</a:t>
                      </a:r>
                    </a:p>
                  </a:txBody>
                  <a:tcPr/>
                </a:tc>
                <a:extLst>
                  <a:ext uri="{0D108BD9-81ED-4DB2-BD59-A6C34878D82A}">
                    <a16:rowId xmlns:a16="http://schemas.microsoft.com/office/drawing/2014/main" val="81982691"/>
                  </a:ext>
                </a:extLst>
              </a:tr>
              <a:tr h="297206">
                <a:tc>
                  <a:txBody>
                    <a:bodyPr/>
                    <a:lstStyle/>
                    <a:p>
                      <a:r>
                        <a:rPr lang="en-GB" sz="1200" b="1" dirty="0"/>
                        <a:t>Category </a:t>
                      </a:r>
                    </a:p>
                  </a:txBody>
                  <a:tcPr>
                    <a:solidFill>
                      <a:schemeClr val="bg1">
                        <a:lumMod val="95000"/>
                      </a:schemeClr>
                    </a:solidFill>
                  </a:tcPr>
                </a:tc>
                <a:tc>
                  <a:txBody>
                    <a:bodyPr/>
                    <a:lstStyle/>
                    <a:p>
                      <a:r>
                        <a:rPr lang="en-GB" sz="1200" dirty="0"/>
                        <a:t>Batteries and Chargers </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385497981"/>
                  </a:ext>
                </a:extLst>
              </a:tr>
              <a:tr h="321544">
                <a:tc>
                  <a:txBody>
                    <a:bodyPr/>
                    <a:lstStyle/>
                    <a:p>
                      <a:r>
                        <a:rPr lang="en-GB" sz="1200" b="1" dirty="0"/>
                        <a:t>Category size </a:t>
                      </a:r>
                    </a:p>
                  </a:txBody>
                  <a:tcPr>
                    <a:solidFill>
                      <a:schemeClr val="bg1">
                        <a:lumMod val="95000"/>
                      </a:schemeClr>
                    </a:solidFill>
                  </a:tcPr>
                </a:tc>
                <a:tc>
                  <a:txBody>
                    <a:bodyPr/>
                    <a:lstStyle/>
                    <a:p>
                      <a:r>
                        <a:rPr lang="en-GB" sz="1200" dirty="0"/>
                        <a:t>459 mn $</a:t>
                      </a:r>
                    </a:p>
                  </a:txBody>
                  <a:tcPr>
                    <a:solidFill>
                      <a:schemeClr val="bg1">
                        <a:lumMod val="95000"/>
                      </a:schemeClr>
                    </a:solidFill>
                  </a:tcPr>
                </a:tc>
                <a:tc>
                  <a:txBody>
                    <a:bodyPr/>
                    <a:lstStyle/>
                    <a:p>
                      <a:r>
                        <a:rPr lang="en-GB" sz="1200" dirty="0"/>
                        <a:t>512 mn $</a:t>
                      </a:r>
                    </a:p>
                  </a:txBody>
                  <a:tcPr>
                    <a:solidFill>
                      <a:schemeClr val="bg1">
                        <a:lumMod val="95000"/>
                      </a:schemeClr>
                    </a:solidFill>
                  </a:tcPr>
                </a:tc>
                <a:tc>
                  <a:txBody>
                    <a:bodyPr/>
                    <a:lstStyle/>
                    <a:p>
                      <a:r>
                        <a:rPr lang="en-GB" sz="1200" dirty="0"/>
                        <a:t>529Mn$</a:t>
                      </a:r>
                    </a:p>
                  </a:txBody>
                  <a:tcPr>
                    <a:solidFill>
                      <a:schemeClr val="bg1">
                        <a:lumMod val="95000"/>
                      </a:schemeClr>
                    </a:solidFill>
                  </a:tcPr>
                </a:tc>
                <a:extLst>
                  <a:ext uri="{0D108BD9-81ED-4DB2-BD59-A6C34878D82A}">
                    <a16:rowId xmlns:a16="http://schemas.microsoft.com/office/drawing/2014/main" val="2428912356"/>
                  </a:ext>
                </a:extLst>
              </a:tr>
              <a:tr h="321544">
                <a:tc>
                  <a:txBody>
                    <a:bodyPr/>
                    <a:lstStyle/>
                    <a:p>
                      <a:r>
                        <a:rPr lang="en-GB" sz="1200" b="1" dirty="0"/>
                        <a:t>Competing Brands </a:t>
                      </a:r>
                    </a:p>
                  </a:txBody>
                  <a:tcPr>
                    <a:solidFill>
                      <a:schemeClr val="bg1">
                        <a:lumMod val="95000"/>
                      </a:schemeClr>
                    </a:solidFill>
                  </a:tcPr>
                </a:tc>
                <a:tc>
                  <a:txBody>
                    <a:bodyPr/>
                    <a:lstStyle/>
                    <a:p>
                      <a:pPr algn="ctr"/>
                      <a:r>
                        <a:rPr lang="en-GB" sz="1200" dirty="0">
                          <a:solidFill>
                            <a:schemeClr val="bg1"/>
                          </a:solidFill>
                        </a:rPr>
                        <a:t>Previous year </a:t>
                      </a:r>
                    </a:p>
                  </a:txBody>
                  <a:tcPr>
                    <a:solidFill>
                      <a:schemeClr val="accent1"/>
                    </a:solidFill>
                  </a:tcPr>
                </a:tc>
                <a:tc>
                  <a:txBody>
                    <a:bodyPr/>
                    <a:lstStyle/>
                    <a:p>
                      <a:pPr algn="ctr"/>
                      <a:r>
                        <a:rPr lang="en-GB" sz="1200" dirty="0">
                          <a:solidFill>
                            <a:schemeClr val="bg1"/>
                          </a:solidFill>
                        </a:rPr>
                        <a:t>Last Year </a:t>
                      </a:r>
                    </a:p>
                  </a:txBody>
                  <a:tcPr>
                    <a:solidFill>
                      <a:schemeClr val="accent1"/>
                    </a:solidFill>
                  </a:tcPr>
                </a:tc>
                <a:tc>
                  <a:txBody>
                    <a:bodyPr/>
                    <a:lstStyle/>
                    <a:p>
                      <a:pPr algn="ctr"/>
                      <a:r>
                        <a:rPr lang="en-GB" sz="1200" dirty="0">
                          <a:solidFill>
                            <a:schemeClr val="bg1"/>
                          </a:solidFill>
                        </a:rPr>
                        <a:t>This Year </a:t>
                      </a:r>
                    </a:p>
                  </a:txBody>
                  <a:tcPr>
                    <a:solidFill>
                      <a:schemeClr val="accent1"/>
                    </a:solidFill>
                  </a:tcPr>
                </a:tc>
                <a:extLst>
                  <a:ext uri="{0D108BD9-81ED-4DB2-BD59-A6C34878D82A}">
                    <a16:rowId xmlns:a16="http://schemas.microsoft.com/office/drawing/2014/main" val="1612073081"/>
                  </a:ext>
                </a:extLst>
              </a:tr>
              <a:tr h="32154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dirty="0"/>
                        <a:t>Brand A</a:t>
                      </a: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17.2%</a:t>
                      </a:r>
                    </a:p>
                  </a:txBody>
                  <a:tcPr>
                    <a:solidFill>
                      <a:schemeClr val="bg1">
                        <a:lumMod val="95000"/>
                      </a:schemeClr>
                    </a:solidFill>
                  </a:tcPr>
                </a:tc>
                <a:tc>
                  <a:txBody>
                    <a:bodyPr/>
                    <a:lstStyle/>
                    <a:p>
                      <a:r>
                        <a:rPr lang="en-GB" sz="1200" dirty="0"/>
                        <a:t>17.4%</a:t>
                      </a:r>
                    </a:p>
                  </a:txBody>
                  <a:tcPr>
                    <a:solidFill>
                      <a:schemeClr val="bg1">
                        <a:lumMod val="95000"/>
                      </a:schemeClr>
                    </a:solidFill>
                  </a:tcPr>
                </a:tc>
                <a:tc>
                  <a:txBody>
                    <a:bodyPr/>
                    <a:lstStyle/>
                    <a:p>
                      <a:r>
                        <a:rPr lang="en-GB" sz="1200" dirty="0"/>
                        <a:t>18.9%</a:t>
                      </a:r>
                    </a:p>
                  </a:txBody>
                  <a:tcPr>
                    <a:solidFill>
                      <a:schemeClr val="bg1">
                        <a:lumMod val="95000"/>
                      </a:schemeClr>
                    </a:solidFill>
                  </a:tcPr>
                </a:tc>
                <a:extLst>
                  <a:ext uri="{0D108BD9-81ED-4DB2-BD59-A6C34878D82A}">
                    <a16:rowId xmlns:a16="http://schemas.microsoft.com/office/drawing/2014/main" val="2202087105"/>
                  </a:ext>
                </a:extLst>
              </a:tr>
              <a:tr h="32154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dirty="0"/>
                        <a:t>Brand B</a:t>
                      </a: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9.5%</a:t>
                      </a:r>
                    </a:p>
                  </a:txBody>
                  <a:tcPr>
                    <a:solidFill>
                      <a:schemeClr val="bg1">
                        <a:lumMod val="95000"/>
                      </a:schemeClr>
                    </a:solidFill>
                  </a:tcPr>
                </a:tc>
                <a:tc>
                  <a:txBody>
                    <a:bodyPr/>
                    <a:lstStyle/>
                    <a:p>
                      <a:r>
                        <a:rPr lang="en-GB" sz="1200" dirty="0"/>
                        <a:t>10.5%</a:t>
                      </a:r>
                    </a:p>
                  </a:txBody>
                  <a:tcPr>
                    <a:solidFill>
                      <a:schemeClr val="bg1">
                        <a:lumMod val="95000"/>
                      </a:schemeClr>
                    </a:solidFill>
                  </a:tcPr>
                </a:tc>
                <a:tc>
                  <a:txBody>
                    <a:bodyPr/>
                    <a:lstStyle/>
                    <a:p>
                      <a:r>
                        <a:rPr lang="en-GB" sz="1200" dirty="0"/>
                        <a:t>12%</a:t>
                      </a:r>
                    </a:p>
                  </a:txBody>
                  <a:tcPr>
                    <a:solidFill>
                      <a:schemeClr val="bg1">
                        <a:lumMod val="95000"/>
                      </a:schemeClr>
                    </a:solidFill>
                  </a:tcPr>
                </a:tc>
                <a:extLst>
                  <a:ext uri="{0D108BD9-81ED-4DB2-BD59-A6C34878D82A}">
                    <a16:rowId xmlns:a16="http://schemas.microsoft.com/office/drawing/2014/main" val="871715920"/>
                  </a:ext>
                </a:extLst>
              </a:tr>
              <a:tr h="32154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dirty="0"/>
                        <a:t>Brand C </a:t>
                      </a: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24%</a:t>
                      </a:r>
                    </a:p>
                  </a:txBody>
                  <a:tcPr>
                    <a:solidFill>
                      <a:schemeClr val="bg1">
                        <a:lumMod val="95000"/>
                      </a:schemeClr>
                    </a:solidFill>
                  </a:tcPr>
                </a:tc>
                <a:tc>
                  <a:txBody>
                    <a:bodyPr/>
                    <a:lstStyle/>
                    <a:p>
                      <a:r>
                        <a:rPr lang="en-GB" sz="1200" dirty="0"/>
                        <a:t>18%</a:t>
                      </a:r>
                    </a:p>
                  </a:txBody>
                  <a:tcPr>
                    <a:solidFill>
                      <a:schemeClr val="bg1">
                        <a:lumMod val="95000"/>
                      </a:schemeClr>
                    </a:solidFill>
                  </a:tcPr>
                </a:tc>
                <a:tc>
                  <a:txBody>
                    <a:bodyPr/>
                    <a:lstStyle/>
                    <a:p>
                      <a:r>
                        <a:rPr lang="en-GB" sz="1200" dirty="0"/>
                        <a:t>16%</a:t>
                      </a:r>
                    </a:p>
                  </a:txBody>
                  <a:tcPr>
                    <a:solidFill>
                      <a:schemeClr val="bg1">
                        <a:lumMod val="95000"/>
                      </a:schemeClr>
                    </a:solidFill>
                  </a:tcPr>
                </a:tc>
                <a:extLst>
                  <a:ext uri="{0D108BD9-81ED-4DB2-BD59-A6C34878D82A}">
                    <a16:rowId xmlns:a16="http://schemas.microsoft.com/office/drawing/2014/main" val="571825475"/>
                  </a:ext>
                </a:extLst>
              </a:tr>
              <a:tr h="3215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t>Channel segmentation</a:t>
                      </a: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118123027"/>
                  </a:ext>
                </a:extLst>
              </a:tr>
              <a:tr h="32154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dirty="0"/>
                        <a:t>Garages</a:t>
                      </a:r>
                    </a:p>
                  </a:txBody>
                  <a:tcPr>
                    <a:solidFill>
                      <a:schemeClr val="bg1">
                        <a:lumMod val="95000"/>
                      </a:schemeClr>
                    </a:solidFill>
                  </a:tcPr>
                </a:tc>
                <a:tc>
                  <a:txBody>
                    <a:bodyPr/>
                    <a:lstStyle/>
                    <a:p>
                      <a:r>
                        <a:rPr lang="en-GB" sz="1200" dirty="0"/>
                        <a:t>38%</a:t>
                      </a:r>
                    </a:p>
                  </a:txBody>
                  <a:tcPr>
                    <a:solidFill>
                      <a:schemeClr val="bg1">
                        <a:lumMod val="95000"/>
                      </a:schemeClr>
                    </a:solidFill>
                  </a:tcPr>
                </a:tc>
                <a:tc>
                  <a:txBody>
                    <a:bodyPr/>
                    <a:lstStyle/>
                    <a:p>
                      <a:r>
                        <a:rPr lang="en-GB" sz="1200" dirty="0"/>
                        <a:t>40%</a:t>
                      </a:r>
                    </a:p>
                  </a:txBody>
                  <a:tcPr>
                    <a:solidFill>
                      <a:schemeClr val="bg1">
                        <a:lumMod val="95000"/>
                      </a:schemeClr>
                    </a:solidFill>
                  </a:tcPr>
                </a:tc>
                <a:tc>
                  <a:txBody>
                    <a:bodyPr/>
                    <a:lstStyle/>
                    <a:p>
                      <a:r>
                        <a:rPr lang="en-GB" sz="1200" dirty="0"/>
                        <a:t>41%</a:t>
                      </a:r>
                    </a:p>
                  </a:txBody>
                  <a:tcPr>
                    <a:solidFill>
                      <a:schemeClr val="bg1">
                        <a:lumMod val="95000"/>
                      </a:schemeClr>
                    </a:solidFill>
                  </a:tcPr>
                </a:tc>
                <a:extLst>
                  <a:ext uri="{0D108BD9-81ED-4DB2-BD59-A6C34878D82A}">
                    <a16:rowId xmlns:a16="http://schemas.microsoft.com/office/drawing/2014/main" val="387940043"/>
                  </a:ext>
                </a:extLst>
              </a:tr>
              <a:tr h="321544">
                <a:tc>
                  <a:txBody>
                    <a:bodyPr/>
                    <a:lstStyle/>
                    <a:p>
                      <a:pPr algn="r"/>
                      <a:r>
                        <a:rPr lang="en-GB" sz="1200" b="1" dirty="0"/>
                        <a:t>DIY</a:t>
                      </a:r>
                    </a:p>
                  </a:txBody>
                  <a:tcPr>
                    <a:solidFill>
                      <a:schemeClr val="bg1">
                        <a:lumMod val="95000"/>
                      </a:schemeClr>
                    </a:solidFill>
                  </a:tcPr>
                </a:tc>
                <a:tc>
                  <a:txBody>
                    <a:bodyPr/>
                    <a:lstStyle/>
                    <a:p>
                      <a:r>
                        <a:rPr lang="en-GB" sz="1200" dirty="0"/>
                        <a:t>25%</a:t>
                      </a:r>
                    </a:p>
                  </a:txBody>
                  <a:tcPr>
                    <a:solidFill>
                      <a:schemeClr val="bg1">
                        <a:lumMod val="95000"/>
                      </a:schemeClr>
                    </a:solidFill>
                  </a:tcPr>
                </a:tc>
                <a:tc>
                  <a:txBody>
                    <a:bodyPr/>
                    <a:lstStyle/>
                    <a:p>
                      <a:r>
                        <a:rPr lang="en-GB" sz="1200" dirty="0"/>
                        <a:t>24%</a:t>
                      </a:r>
                    </a:p>
                  </a:txBody>
                  <a:tcPr>
                    <a:solidFill>
                      <a:schemeClr val="bg1">
                        <a:lumMod val="95000"/>
                      </a:schemeClr>
                    </a:solidFill>
                  </a:tcPr>
                </a:tc>
                <a:tc>
                  <a:txBody>
                    <a:bodyPr/>
                    <a:lstStyle/>
                    <a:p>
                      <a:r>
                        <a:rPr lang="en-GB" sz="1200" dirty="0"/>
                        <a:t>23%</a:t>
                      </a:r>
                    </a:p>
                  </a:txBody>
                  <a:tcPr>
                    <a:solidFill>
                      <a:schemeClr val="bg1">
                        <a:lumMod val="95000"/>
                      </a:schemeClr>
                    </a:solidFill>
                  </a:tcPr>
                </a:tc>
                <a:extLst>
                  <a:ext uri="{0D108BD9-81ED-4DB2-BD59-A6C34878D82A}">
                    <a16:rowId xmlns:a16="http://schemas.microsoft.com/office/drawing/2014/main" val="152720991"/>
                  </a:ext>
                </a:extLst>
              </a:tr>
              <a:tr h="321544">
                <a:tc>
                  <a:txBody>
                    <a:bodyPr/>
                    <a:lstStyle/>
                    <a:p>
                      <a:pPr algn="r"/>
                      <a:r>
                        <a:rPr lang="en-GB" sz="1200" b="1" dirty="0"/>
                        <a:t>Auto Dealerships </a:t>
                      </a:r>
                    </a:p>
                  </a:txBody>
                  <a:tcPr>
                    <a:solidFill>
                      <a:schemeClr val="bg1">
                        <a:lumMod val="95000"/>
                      </a:schemeClr>
                    </a:solidFill>
                  </a:tcPr>
                </a:tc>
                <a:tc>
                  <a:txBody>
                    <a:bodyPr/>
                    <a:lstStyle/>
                    <a:p>
                      <a:r>
                        <a:rPr lang="en-GB" sz="1200" dirty="0"/>
                        <a:t>22%</a:t>
                      </a:r>
                    </a:p>
                  </a:txBody>
                  <a:tcPr>
                    <a:solidFill>
                      <a:schemeClr val="bg1">
                        <a:lumMod val="95000"/>
                      </a:schemeClr>
                    </a:solidFill>
                  </a:tcPr>
                </a:tc>
                <a:tc>
                  <a:txBody>
                    <a:bodyPr/>
                    <a:lstStyle/>
                    <a:p>
                      <a:r>
                        <a:rPr lang="en-GB" sz="1200" dirty="0"/>
                        <a:t>19%</a:t>
                      </a:r>
                    </a:p>
                  </a:txBody>
                  <a:tcPr>
                    <a:solidFill>
                      <a:schemeClr val="bg1">
                        <a:lumMod val="95000"/>
                      </a:schemeClr>
                    </a:solidFill>
                  </a:tcPr>
                </a:tc>
                <a:tc>
                  <a:txBody>
                    <a:bodyPr/>
                    <a:lstStyle/>
                    <a:p>
                      <a:r>
                        <a:rPr lang="en-GB" sz="1200" dirty="0"/>
                        <a:t>17%</a:t>
                      </a:r>
                    </a:p>
                  </a:txBody>
                  <a:tcPr>
                    <a:solidFill>
                      <a:schemeClr val="bg1">
                        <a:lumMod val="95000"/>
                      </a:schemeClr>
                    </a:solidFill>
                  </a:tcPr>
                </a:tc>
                <a:extLst>
                  <a:ext uri="{0D108BD9-81ED-4DB2-BD59-A6C34878D82A}">
                    <a16:rowId xmlns:a16="http://schemas.microsoft.com/office/drawing/2014/main" val="3338590621"/>
                  </a:ext>
                </a:extLst>
              </a:tr>
              <a:tr h="321544">
                <a:tc>
                  <a:txBody>
                    <a:bodyPr/>
                    <a:lstStyle/>
                    <a:p>
                      <a:pPr algn="r"/>
                      <a:r>
                        <a:rPr lang="en-GB" sz="1200" b="1" dirty="0"/>
                        <a:t>Electric Shops </a:t>
                      </a:r>
                    </a:p>
                  </a:txBody>
                  <a:tcPr>
                    <a:solidFill>
                      <a:schemeClr val="bg1">
                        <a:lumMod val="95000"/>
                      </a:schemeClr>
                    </a:solidFill>
                  </a:tcPr>
                </a:tc>
                <a:tc>
                  <a:txBody>
                    <a:bodyPr/>
                    <a:lstStyle/>
                    <a:p>
                      <a:r>
                        <a:rPr lang="en-GB" sz="1200" dirty="0"/>
                        <a:t>15%</a:t>
                      </a:r>
                    </a:p>
                  </a:txBody>
                  <a:tcPr>
                    <a:solidFill>
                      <a:schemeClr val="bg1">
                        <a:lumMod val="95000"/>
                      </a:schemeClr>
                    </a:solidFill>
                  </a:tcPr>
                </a:tc>
                <a:tc>
                  <a:txBody>
                    <a:bodyPr/>
                    <a:lstStyle/>
                    <a:p>
                      <a:r>
                        <a:rPr lang="en-GB" sz="1200" dirty="0"/>
                        <a:t>17%</a:t>
                      </a:r>
                    </a:p>
                  </a:txBody>
                  <a:tcPr>
                    <a:solidFill>
                      <a:schemeClr val="bg1">
                        <a:lumMod val="95000"/>
                      </a:schemeClr>
                    </a:solidFill>
                  </a:tcPr>
                </a:tc>
                <a:tc>
                  <a:txBody>
                    <a:bodyPr/>
                    <a:lstStyle/>
                    <a:p>
                      <a:r>
                        <a:rPr lang="en-GB" sz="1200" dirty="0"/>
                        <a:t>19%</a:t>
                      </a:r>
                    </a:p>
                  </a:txBody>
                  <a:tcPr>
                    <a:solidFill>
                      <a:schemeClr val="bg1">
                        <a:lumMod val="95000"/>
                      </a:schemeClr>
                    </a:solidFill>
                  </a:tcPr>
                </a:tc>
                <a:extLst>
                  <a:ext uri="{0D108BD9-81ED-4DB2-BD59-A6C34878D82A}">
                    <a16:rowId xmlns:a16="http://schemas.microsoft.com/office/drawing/2014/main" val="4292982655"/>
                  </a:ext>
                </a:extLst>
              </a:tr>
              <a:tr h="321544">
                <a:tc>
                  <a:txBody>
                    <a:bodyPr/>
                    <a:lstStyle/>
                    <a:p>
                      <a:endParaRPr lang="en-GB" sz="1200" b="1"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4246901403"/>
                  </a:ext>
                </a:extLst>
              </a:tr>
              <a:tr h="321544">
                <a:tc>
                  <a:txBody>
                    <a:bodyPr/>
                    <a:lstStyle/>
                    <a:p>
                      <a:r>
                        <a:rPr lang="en-GB" sz="1200" b="1" dirty="0"/>
                        <a:t>Brand shares in %</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1086604594"/>
                  </a:ext>
                </a:extLst>
              </a:tr>
              <a:tr h="32154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dirty="0"/>
                        <a:t>Brand A</a:t>
                      </a:r>
                    </a:p>
                  </a:txBody>
                  <a:tcPr>
                    <a:solidFill>
                      <a:schemeClr val="bg1">
                        <a:lumMod val="95000"/>
                      </a:schemeClr>
                    </a:solidFill>
                  </a:tcPr>
                </a:tc>
                <a:tc>
                  <a:txBody>
                    <a:bodyPr/>
                    <a:lstStyle/>
                    <a:p>
                      <a:r>
                        <a:rPr lang="en-GB" sz="1200" dirty="0"/>
                        <a:t>23%</a:t>
                      </a:r>
                    </a:p>
                  </a:txBody>
                  <a:tcPr>
                    <a:solidFill>
                      <a:schemeClr val="bg1">
                        <a:lumMod val="95000"/>
                      </a:schemeClr>
                    </a:solidFill>
                  </a:tcPr>
                </a:tc>
                <a:tc>
                  <a:txBody>
                    <a:bodyPr/>
                    <a:lstStyle/>
                    <a:p>
                      <a:r>
                        <a:rPr lang="en-GB" sz="1200" dirty="0"/>
                        <a:t>25%</a:t>
                      </a:r>
                    </a:p>
                  </a:txBody>
                  <a:tcPr>
                    <a:solidFill>
                      <a:schemeClr val="bg1">
                        <a:lumMod val="95000"/>
                      </a:schemeClr>
                    </a:solidFill>
                  </a:tcPr>
                </a:tc>
                <a:tc>
                  <a:txBody>
                    <a:bodyPr/>
                    <a:lstStyle/>
                    <a:p>
                      <a:r>
                        <a:rPr lang="en-GB" sz="1200" dirty="0"/>
                        <a:t>27%</a:t>
                      </a:r>
                    </a:p>
                  </a:txBody>
                  <a:tcPr>
                    <a:solidFill>
                      <a:schemeClr val="bg1">
                        <a:lumMod val="95000"/>
                      </a:schemeClr>
                    </a:solidFill>
                  </a:tcPr>
                </a:tc>
                <a:extLst>
                  <a:ext uri="{0D108BD9-81ED-4DB2-BD59-A6C34878D82A}">
                    <a16:rowId xmlns:a16="http://schemas.microsoft.com/office/drawing/2014/main" val="1942931181"/>
                  </a:ext>
                </a:extLst>
              </a:tr>
              <a:tr h="32154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dirty="0"/>
                        <a:t>Brand B</a:t>
                      </a:r>
                    </a:p>
                  </a:txBody>
                  <a:tcPr>
                    <a:solidFill>
                      <a:schemeClr val="bg1">
                        <a:lumMod val="95000"/>
                      </a:schemeClr>
                    </a:solidFill>
                  </a:tcPr>
                </a:tc>
                <a:tc>
                  <a:txBody>
                    <a:bodyPr/>
                    <a:lstStyle/>
                    <a:p>
                      <a:r>
                        <a:rPr lang="en-GB" sz="1200" dirty="0"/>
                        <a:t>19%</a:t>
                      </a:r>
                    </a:p>
                  </a:txBody>
                  <a:tcPr>
                    <a:solidFill>
                      <a:schemeClr val="bg1">
                        <a:lumMod val="95000"/>
                      </a:schemeClr>
                    </a:solidFill>
                  </a:tcPr>
                </a:tc>
                <a:tc>
                  <a:txBody>
                    <a:bodyPr/>
                    <a:lstStyle/>
                    <a:p>
                      <a:r>
                        <a:rPr lang="en-GB" sz="1200" dirty="0"/>
                        <a:t>20%</a:t>
                      </a:r>
                    </a:p>
                  </a:txBody>
                  <a:tcPr>
                    <a:solidFill>
                      <a:schemeClr val="bg1">
                        <a:lumMod val="95000"/>
                      </a:schemeClr>
                    </a:solidFill>
                  </a:tcPr>
                </a:tc>
                <a:tc>
                  <a:txBody>
                    <a:bodyPr/>
                    <a:lstStyle/>
                    <a:p>
                      <a:r>
                        <a:rPr lang="en-GB" sz="1200" dirty="0"/>
                        <a:t>18%</a:t>
                      </a:r>
                    </a:p>
                  </a:txBody>
                  <a:tcPr>
                    <a:solidFill>
                      <a:schemeClr val="bg1">
                        <a:lumMod val="95000"/>
                      </a:schemeClr>
                    </a:solidFill>
                  </a:tcPr>
                </a:tc>
                <a:extLst>
                  <a:ext uri="{0D108BD9-81ED-4DB2-BD59-A6C34878D82A}">
                    <a16:rowId xmlns:a16="http://schemas.microsoft.com/office/drawing/2014/main" val="2490979866"/>
                  </a:ext>
                </a:extLst>
              </a:tr>
              <a:tr h="32154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dirty="0"/>
                        <a:t>Brand C </a:t>
                      </a:r>
                    </a:p>
                  </a:txBody>
                  <a:tcPr>
                    <a:solidFill>
                      <a:schemeClr val="bg1">
                        <a:lumMod val="95000"/>
                      </a:schemeClr>
                    </a:solidFill>
                  </a:tcPr>
                </a:tc>
                <a:tc>
                  <a:txBody>
                    <a:bodyPr/>
                    <a:lstStyle/>
                    <a:p>
                      <a:r>
                        <a:rPr lang="en-GB" sz="1200" dirty="0"/>
                        <a:t>16%</a:t>
                      </a:r>
                    </a:p>
                  </a:txBody>
                  <a:tcPr>
                    <a:solidFill>
                      <a:schemeClr val="bg1">
                        <a:lumMod val="95000"/>
                      </a:schemeClr>
                    </a:solidFill>
                  </a:tcPr>
                </a:tc>
                <a:tc>
                  <a:txBody>
                    <a:bodyPr/>
                    <a:lstStyle/>
                    <a:p>
                      <a:r>
                        <a:rPr lang="en-GB" sz="1200" dirty="0"/>
                        <a:t>17%</a:t>
                      </a:r>
                    </a:p>
                  </a:txBody>
                  <a:tcPr>
                    <a:solidFill>
                      <a:schemeClr val="bg1">
                        <a:lumMod val="95000"/>
                      </a:schemeClr>
                    </a:solidFill>
                  </a:tcPr>
                </a:tc>
                <a:tc>
                  <a:txBody>
                    <a:bodyPr/>
                    <a:lstStyle/>
                    <a:p>
                      <a:r>
                        <a:rPr lang="en-GB" sz="1200" dirty="0"/>
                        <a:t>17%</a:t>
                      </a:r>
                    </a:p>
                  </a:txBody>
                  <a:tcPr>
                    <a:solidFill>
                      <a:schemeClr val="bg1">
                        <a:lumMod val="95000"/>
                      </a:schemeClr>
                    </a:solidFill>
                  </a:tcPr>
                </a:tc>
                <a:extLst>
                  <a:ext uri="{0D108BD9-81ED-4DB2-BD59-A6C34878D82A}">
                    <a16:rowId xmlns:a16="http://schemas.microsoft.com/office/drawing/2014/main" val="1452815385"/>
                  </a:ext>
                </a:extLst>
              </a:tr>
            </a:tbl>
          </a:graphicData>
        </a:graphic>
      </p:graphicFrame>
      <p:sp>
        <p:nvSpPr>
          <p:cNvPr id="7" name="Rectangle 6">
            <a:extLst>
              <a:ext uri="{FF2B5EF4-FFF2-40B4-BE49-F238E27FC236}">
                <a16:creationId xmlns:a16="http://schemas.microsoft.com/office/drawing/2014/main" id="{E7054A66-440C-8443-512A-362F471E1719}"/>
              </a:ext>
            </a:extLst>
          </p:cNvPr>
          <p:cNvSpPr/>
          <p:nvPr/>
        </p:nvSpPr>
        <p:spPr>
          <a:xfrm>
            <a:off x="5283760" y="4882746"/>
            <a:ext cx="5701071" cy="290833"/>
          </a:xfrm>
          <a:prstGeom prst="rect">
            <a:avLst/>
          </a:prstGeom>
          <a:solidFill>
            <a:schemeClr val="accent3">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Lato Light"/>
                <a:ea typeface="+mn-ea"/>
                <a:cs typeface="+mn-cs"/>
              </a:rPr>
              <a:t>The data above is mainly pertinent to Trade marketing requirements as a basic</a:t>
            </a:r>
          </a:p>
        </p:txBody>
      </p:sp>
    </p:spTree>
    <p:extLst>
      <p:ext uri="{BB962C8B-B14F-4D97-AF65-F5344CB8AC3E}">
        <p14:creationId xmlns:p14="http://schemas.microsoft.com/office/powerpoint/2010/main" val="36706193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E0C8180-015B-53FD-4E6A-8FA4BC5158C7}"/>
              </a:ext>
            </a:extLst>
          </p:cNvPr>
          <p:cNvSpPr txBox="1"/>
          <p:nvPr/>
        </p:nvSpPr>
        <p:spPr>
          <a:xfrm>
            <a:off x="116542" y="74495"/>
            <a:ext cx="10056158" cy="800219"/>
          </a:xfrm>
          <a:prstGeom prst="rect">
            <a:avLst/>
          </a:prstGeom>
          <a:solidFill>
            <a:schemeClr val="bg1"/>
          </a:solid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a:t>
            </a: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Key Channels</a:t>
            </a:r>
          </a:p>
        </p:txBody>
      </p:sp>
      <p:pic>
        <p:nvPicPr>
          <p:cNvPr id="4" name="Picture 3" descr="Logo&#10;&#10;Description automatically generated">
            <a:extLst>
              <a:ext uri="{FF2B5EF4-FFF2-40B4-BE49-F238E27FC236}">
                <a16:creationId xmlns:a16="http://schemas.microsoft.com/office/drawing/2014/main" id="{E5B2D4F2-60C1-81FB-9CE5-9C0CDEAE9F1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5" name="Footer Placeholder 3">
            <a:extLst>
              <a:ext uri="{FF2B5EF4-FFF2-40B4-BE49-F238E27FC236}">
                <a16:creationId xmlns:a16="http://schemas.microsoft.com/office/drawing/2014/main" id="{99478E7F-20EB-302F-6FEB-36A18BB7AE9C}"/>
              </a:ext>
            </a:extLst>
          </p:cNvPr>
          <p:cNvSpPr>
            <a:spLocks noGrp="1"/>
          </p:cNvSpPr>
          <p:nvPr>
            <p:ph type="ftr" sz="quarter" idx="11"/>
          </p:nvPr>
        </p:nvSpPr>
        <p:spPr>
          <a:xfrm>
            <a:off x="403860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Lato Light"/>
                <a:ea typeface="+mn-ea"/>
                <a:cs typeface="+mn-cs"/>
              </a:rPr>
              <a:t>www.upskilpro.com</a:t>
            </a:r>
            <a:endParaRPr kumimoji="0" lang="en-GB" sz="1200" b="0" i="0" u="none" strike="noStrike" kern="1200" cap="none" spc="0" normalizeH="0" baseline="0" noProof="0" dirty="0">
              <a:ln>
                <a:noFill/>
              </a:ln>
              <a:solidFill>
                <a:prstClr val="black">
                  <a:tint val="75000"/>
                </a:prstClr>
              </a:solidFill>
              <a:effectLst/>
              <a:uLnTx/>
              <a:uFillTx/>
              <a:latin typeface="Lato Light"/>
              <a:ea typeface="+mn-ea"/>
              <a:cs typeface="+mn-cs"/>
            </a:endParaRPr>
          </a:p>
        </p:txBody>
      </p:sp>
      <p:graphicFrame>
        <p:nvGraphicFramePr>
          <p:cNvPr id="6" name="Table 5">
            <a:extLst>
              <a:ext uri="{FF2B5EF4-FFF2-40B4-BE49-F238E27FC236}">
                <a16:creationId xmlns:a16="http://schemas.microsoft.com/office/drawing/2014/main" id="{341381D2-16A7-39E7-0943-74D3E04D7329}"/>
              </a:ext>
            </a:extLst>
          </p:cNvPr>
          <p:cNvGraphicFramePr>
            <a:graphicFrameLocks noGrp="1"/>
          </p:cNvGraphicFramePr>
          <p:nvPr/>
        </p:nvGraphicFramePr>
        <p:xfrm>
          <a:off x="725714" y="1054038"/>
          <a:ext cx="10699695" cy="4259532"/>
        </p:xfrm>
        <a:graphic>
          <a:graphicData uri="http://schemas.openxmlformats.org/drawingml/2006/table">
            <a:tbl>
              <a:tblPr firstRow="1" bandRow="1">
                <a:tableStyleId>{5C22544A-7EE6-4342-B048-85BDC9FD1C3A}</a:tableStyleId>
              </a:tblPr>
              <a:tblGrid>
                <a:gridCol w="961292">
                  <a:extLst>
                    <a:ext uri="{9D8B030D-6E8A-4147-A177-3AD203B41FA5}">
                      <a16:colId xmlns:a16="http://schemas.microsoft.com/office/drawing/2014/main" val="1207560090"/>
                    </a:ext>
                  </a:extLst>
                </a:gridCol>
                <a:gridCol w="900000">
                  <a:extLst>
                    <a:ext uri="{9D8B030D-6E8A-4147-A177-3AD203B41FA5}">
                      <a16:colId xmlns:a16="http://schemas.microsoft.com/office/drawing/2014/main" val="4118078510"/>
                    </a:ext>
                  </a:extLst>
                </a:gridCol>
                <a:gridCol w="900000">
                  <a:extLst>
                    <a:ext uri="{9D8B030D-6E8A-4147-A177-3AD203B41FA5}">
                      <a16:colId xmlns:a16="http://schemas.microsoft.com/office/drawing/2014/main" val="3334356696"/>
                    </a:ext>
                  </a:extLst>
                </a:gridCol>
                <a:gridCol w="900000">
                  <a:extLst>
                    <a:ext uri="{9D8B030D-6E8A-4147-A177-3AD203B41FA5}">
                      <a16:colId xmlns:a16="http://schemas.microsoft.com/office/drawing/2014/main" val="1933254466"/>
                    </a:ext>
                  </a:extLst>
                </a:gridCol>
                <a:gridCol w="921086">
                  <a:extLst>
                    <a:ext uri="{9D8B030D-6E8A-4147-A177-3AD203B41FA5}">
                      <a16:colId xmlns:a16="http://schemas.microsoft.com/office/drawing/2014/main" val="164218929"/>
                    </a:ext>
                  </a:extLst>
                </a:gridCol>
                <a:gridCol w="4174236">
                  <a:extLst>
                    <a:ext uri="{9D8B030D-6E8A-4147-A177-3AD203B41FA5}">
                      <a16:colId xmlns:a16="http://schemas.microsoft.com/office/drawing/2014/main" val="2559892957"/>
                    </a:ext>
                  </a:extLst>
                </a:gridCol>
                <a:gridCol w="1943081">
                  <a:extLst>
                    <a:ext uri="{9D8B030D-6E8A-4147-A177-3AD203B41FA5}">
                      <a16:colId xmlns:a16="http://schemas.microsoft.com/office/drawing/2014/main" val="364046904"/>
                    </a:ext>
                  </a:extLst>
                </a:gridCol>
              </a:tblGrid>
              <a:tr h="372898">
                <a:tc>
                  <a:txBody>
                    <a:bodyPr/>
                    <a:lstStyle/>
                    <a:p>
                      <a:pPr algn="ctr"/>
                      <a:endParaRPr lang="en-GB" sz="1000" dirty="0">
                        <a:solidFill>
                          <a:schemeClr val="bg1"/>
                        </a:solidFill>
                      </a:endParaRPr>
                    </a:p>
                    <a:p>
                      <a:pPr algn="ctr"/>
                      <a:r>
                        <a:rPr lang="en-GB" sz="900" dirty="0">
                          <a:solidFill>
                            <a:schemeClr val="bg1"/>
                          </a:solidFill>
                        </a:rPr>
                        <a:t>Channels </a:t>
                      </a:r>
                    </a:p>
                  </a:txBody>
                  <a:tcPr/>
                </a:tc>
                <a:tc>
                  <a:txBody>
                    <a:bodyPr/>
                    <a:lstStyle/>
                    <a:p>
                      <a:pPr algn="ctr"/>
                      <a:r>
                        <a:rPr lang="en-GB" sz="800" dirty="0">
                          <a:solidFill>
                            <a:schemeClr val="bg1"/>
                          </a:solidFill>
                        </a:rPr>
                        <a:t>Market </a:t>
                      </a:r>
                    </a:p>
                    <a:p>
                      <a:pPr algn="ctr"/>
                      <a:r>
                        <a:rPr lang="en-GB" sz="800" dirty="0">
                          <a:solidFill>
                            <a:schemeClr val="bg1"/>
                          </a:solidFill>
                        </a:rPr>
                        <a:t>Contribution $ </a:t>
                      </a:r>
                    </a:p>
                  </a:txBody>
                  <a:tcPr/>
                </a:tc>
                <a:tc>
                  <a:txBody>
                    <a:bodyPr/>
                    <a:lstStyle/>
                    <a:p>
                      <a:pPr algn="ctr"/>
                      <a:r>
                        <a:rPr lang="en-GB" sz="800" dirty="0">
                          <a:solidFill>
                            <a:schemeClr val="bg1"/>
                          </a:solidFill>
                        </a:rPr>
                        <a:t>Market Contribution %</a:t>
                      </a:r>
                    </a:p>
                  </a:txBody>
                  <a:tcPr/>
                </a:tc>
                <a:tc>
                  <a:txBody>
                    <a:bodyPr/>
                    <a:lstStyle/>
                    <a:p>
                      <a:pPr algn="ctr"/>
                      <a:r>
                        <a:rPr lang="en-GB" sz="800" dirty="0">
                          <a:solidFill>
                            <a:schemeClr val="bg1"/>
                          </a:solidFill>
                        </a:rPr>
                        <a:t>Business </a:t>
                      </a:r>
                    </a:p>
                    <a:p>
                      <a:pPr algn="ctr"/>
                      <a:r>
                        <a:rPr lang="en-GB" sz="800" dirty="0">
                          <a:solidFill>
                            <a:schemeClr val="bg1"/>
                          </a:solidFill>
                        </a:rPr>
                        <a:t>Contribution $ </a:t>
                      </a:r>
                    </a:p>
                  </a:txBody>
                  <a:tcPr/>
                </a:tc>
                <a:tc>
                  <a:txBody>
                    <a:bodyPr/>
                    <a:lstStyle/>
                    <a:p>
                      <a:pPr algn="ctr"/>
                      <a:r>
                        <a:rPr lang="en-GB" sz="900" dirty="0">
                          <a:solidFill>
                            <a:schemeClr val="bg1"/>
                          </a:solidFill>
                        </a:rPr>
                        <a:t>Business Contribution %</a:t>
                      </a:r>
                    </a:p>
                  </a:txBody>
                  <a:tcPr/>
                </a:tc>
                <a:tc>
                  <a:txBody>
                    <a:bodyPr/>
                    <a:lstStyle/>
                    <a:p>
                      <a:pPr algn="ctr"/>
                      <a:endParaRPr lang="en-GB" sz="900" dirty="0">
                        <a:solidFill>
                          <a:schemeClr val="bg1"/>
                        </a:solidFill>
                      </a:endParaRPr>
                    </a:p>
                    <a:p>
                      <a:pPr algn="ctr"/>
                      <a:r>
                        <a:rPr lang="en-GB" sz="900" dirty="0">
                          <a:solidFill>
                            <a:schemeClr val="bg1"/>
                          </a:solidFill>
                        </a:rPr>
                        <a:t>Strategies </a:t>
                      </a:r>
                    </a:p>
                  </a:txBody>
                  <a:tcPr/>
                </a:tc>
                <a:tc>
                  <a:txBody>
                    <a:bodyPr/>
                    <a:lstStyle/>
                    <a:p>
                      <a:pPr algn="ctr"/>
                      <a:endParaRPr lang="en-GB" sz="900" dirty="0">
                        <a:solidFill>
                          <a:schemeClr val="bg1"/>
                        </a:solidFill>
                      </a:endParaRPr>
                    </a:p>
                    <a:p>
                      <a:pPr algn="ctr"/>
                      <a:r>
                        <a:rPr lang="en-GB" sz="900" dirty="0">
                          <a:solidFill>
                            <a:schemeClr val="bg1"/>
                          </a:solidFill>
                        </a:rPr>
                        <a:t>Prioritization</a:t>
                      </a:r>
                    </a:p>
                  </a:txBody>
                  <a:tcPr/>
                </a:tc>
                <a:extLst>
                  <a:ext uri="{0D108BD9-81ED-4DB2-BD59-A6C34878D82A}">
                    <a16:rowId xmlns:a16="http://schemas.microsoft.com/office/drawing/2014/main" val="81982691"/>
                  </a:ext>
                </a:extLst>
              </a:tr>
              <a:tr h="29720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chemeClr val="bg1"/>
                          </a:solidFill>
                        </a:rPr>
                        <a:t>Channel A</a:t>
                      </a:r>
                    </a:p>
                  </a:txBody>
                  <a:tcPr>
                    <a:solidFill>
                      <a:schemeClr val="accent1"/>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r>
                        <a:rPr lang="en-GB" sz="800" i="1" dirty="0"/>
                        <a:t>All Category dominance , complete branding and annual TM plan tie up for all major categories</a:t>
                      </a:r>
                    </a:p>
                  </a:txBody>
                  <a:tcPr>
                    <a:solidFill>
                      <a:schemeClr val="bg1">
                        <a:lumMod val="95000"/>
                      </a:schemeClr>
                    </a:solidFill>
                  </a:tcPr>
                </a:tc>
                <a:tc>
                  <a:txBody>
                    <a:bodyPr/>
                    <a:lstStyle/>
                    <a:p>
                      <a:pPr algn="ctr"/>
                      <a:r>
                        <a:rPr lang="en-GB" sz="1000" dirty="0">
                          <a:solidFill>
                            <a:schemeClr val="bg1"/>
                          </a:solidFill>
                        </a:rPr>
                        <a:t>Drive Channel </a:t>
                      </a:r>
                    </a:p>
                  </a:txBody>
                  <a:tcPr>
                    <a:solidFill>
                      <a:schemeClr val="accent6"/>
                    </a:solidFill>
                  </a:tcPr>
                </a:tc>
                <a:extLst>
                  <a:ext uri="{0D108BD9-81ED-4DB2-BD59-A6C34878D82A}">
                    <a16:rowId xmlns:a16="http://schemas.microsoft.com/office/drawing/2014/main" val="3073184419"/>
                  </a:ext>
                </a:extLst>
              </a:tr>
              <a:tr h="29720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chemeClr val="bg1"/>
                          </a:solidFill>
                        </a:rPr>
                        <a:t>Channel B</a:t>
                      </a:r>
                    </a:p>
                  </a:txBody>
                  <a:tcPr>
                    <a:solidFill>
                      <a:schemeClr val="accent1"/>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r>
                        <a:rPr lang="en-GB" sz="800" i="1" dirty="0"/>
                        <a:t>All Category dominance , complete branding and annual TM plan tie up for all major categories</a:t>
                      </a:r>
                      <a:endParaRPr lang="en-GB" sz="800" i="1" kern="1200" dirty="0">
                        <a:solidFill>
                          <a:schemeClr val="dk1"/>
                        </a:solidFill>
                        <a:latin typeface="+mn-lt"/>
                        <a:ea typeface="+mn-ea"/>
                        <a:cs typeface="+mn-cs"/>
                      </a:endParaRPr>
                    </a:p>
                  </a:txBody>
                  <a:tcPr>
                    <a:solidFill>
                      <a:schemeClr val="bg1">
                        <a:lumMod val="95000"/>
                      </a:schemeClr>
                    </a:solidFill>
                  </a:tcPr>
                </a:tc>
                <a:tc>
                  <a:txBody>
                    <a:bodyPr/>
                    <a:lstStyle/>
                    <a:p>
                      <a:pPr algn="ctr"/>
                      <a:r>
                        <a:rPr lang="en-GB" sz="1000" dirty="0">
                          <a:solidFill>
                            <a:schemeClr val="bg1"/>
                          </a:solidFill>
                        </a:rPr>
                        <a:t>Drive Channel </a:t>
                      </a:r>
                    </a:p>
                  </a:txBody>
                  <a:tcPr>
                    <a:solidFill>
                      <a:schemeClr val="accent6"/>
                    </a:solidFill>
                  </a:tcPr>
                </a:tc>
                <a:extLst>
                  <a:ext uri="{0D108BD9-81ED-4DB2-BD59-A6C34878D82A}">
                    <a16:rowId xmlns:a16="http://schemas.microsoft.com/office/drawing/2014/main" val="816221093"/>
                  </a:ext>
                </a:extLst>
              </a:tr>
              <a:tr h="297206">
                <a:tc>
                  <a:txBody>
                    <a:bodyPr/>
                    <a:lstStyle/>
                    <a:p>
                      <a:r>
                        <a:rPr lang="en-GB" sz="1000" b="1" dirty="0">
                          <a:solidFill>
                            <a:schemeClr val="bg1"/>
                          </a:solidFill>
                        </a:rPr>
                        <a:t>Channel C</a:t>
                      </a:r>
                    </a:p>
                  </a:txBody>
                  <a:tcPr>
                    <a:solidFill>
                      <a:schemeClr val="accent1"/>
                    </a:solidFill>
                  </a:tcPr>
                </a:tc>
                <a:tc>
                  <a:txBody>
                    <a:bodyPr/>
                    <a:lstStyle/>
                    <a:p>
                      <a:pPr algn="l"/>
                      <a:endParaRPr lang="en-GB" sz="1200" dirty="0">
                        <a:solidFill>
                          <a:schemeClr val="tx1"/>
                        </a:solidFill>
                      </a:endParaRPr>
                    </a:p>
                  </a:txBody>
                  <a:tcPr>
                    <a:solidFill>
                      <a:schemeClr val="bg1">
                        <a:lumMod val="95000"/>
                      </a:schemeClr>
                    </a:solidFill>
                  </a:tcPr>
                </a:tc>
                <a:tc>
                  <a:txBody>
                    <a:bodyPr/>
                    <a:lstStyle/>
                    <a:p>
                      <a:pPr algn="l"/>
                      <a:endParaRPr lang="en-GB" sz="1200" dirty="0">
                        <a:solidFill>
                          <a:schemeClr val="tx1"/>
                        </a:solidFill>
                      </a:endParaRPr>
                    </a:p>
                  </a:txBody>
                  <a:tcPr>
                    <a:solidFill>
                      <a:schemeClr val="bg1">
                        <a:lumMod val="95000"/>
                      </a:schemeClr>
                    </a:solidFill>
                  </a:tcPr>
                </a:tc>
                <a:tc>
                  <a:txBody>
                    <a:bodyPr/>
                    <a:lstStyle/>
                    <a:p>
                      <a:pPr algn="l"/>
                      <a:endParaRPr lang="en-GB" sz="1200" dirty="0">
                        <a:solidFill>
                          <a:schemeClr val="tx1"/>
                        </a:solidFill>
                      </a:endParaRPr>
                    </a:p>
                  </a:txBody>
                  <a:tcPr>
                    <a:solidFill>
                      <a:schemeClr val="bg1">
                        <a:lumMod val="95000"/>
                      </a:schemeClr>
                    </a:solidFill>
                  </a:tcPr>
                </a:tc>
                <a:tc>
                  <a:txBody>
                    <a:bodyPr/>
                    <a:lstStyle/>
                    <a:p>
                      <a:pPr algn="l"/>
                      <a:endParaRPr lang="en-GB" sz="1200" dirty="0">
                        <a:solidFill>
                          <a:schemeClr val="tx1"/>
                        </a:solidFill>
                      </a:endParaRP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i="1" dirty="0"/>
                        <a:t>Specific Category dominance , situational branding engagement and thematic TM plan tie up for all agreed categories only </a:t>
                      </a:r>
                      <a:endParaRPr lang="en-GB" sz="800" i="1" kern="1200" dirty="0">
                        <a:solidFill>
                          <a:schemeClr val="dk1"/>
                        </a:solidFill>
                        <a:latin typeface="+mn-lt"/>
                        <a:ea typeface="+mn-ea"/>
                        <a:cs typeface="+mn-cs"/>
                      </a:endParaRPr>
                    </a:p>
                  </a:txBody>
                  <a:tcP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bg1"/>
                          </a:solidFill>
                          <a:latin typeface="+mn-lt"/>
                          <a:ea typeface="+mn-ea"/>
                          <a:cs typeface="+mn-cs"/>
                        </a:rPr>
                        <a:t>Support Channel </a:t>
                      </a:r>
                    </a:p>
                  </a:txBody>
                  <a:tcPr>
                    <a:solidFill>
                      <a:schemeClr val="accent3"/>
                    </a:solidFill>
                  </a:tcPr>
                </a:tc>
                <a:extLst>
                  <a:ext uri="{0D108BD9-81ED-4DB2-BD59-A6C34878D82A}">
                    <a16:rowId xmlns:a16="http://schemas.microsoft.com/office/drawing/2014/main" val="1130243688"/>
                  </a:ext>
                </a:extLst>
              </a:tr>
              <a:tr h="29720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chemeClr val="bg1"/>
                          </a:solidFill>
                        </a:rPr>
                        <a:t>Channel D</a:t>
                      </a:r>
                    </a:p>
                  </a:txBody>
                  <a:tcPr>
                    <a:solidFill>
                      <a:schemeClr val="accent1"/>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i="1" dirty="0"/>
                        <a:t>Specific Category dominance , situational branding engagement and thematic TM plan tie up for all agreed categories only </a:t>
                      </a:r>
                      <a:endParaRPr lang="en-GB" sz="800" i="1" kern="1200" dirty="0">
                        <a:solidFill>
                          <a:schemeClr val="dk1"/>
                        </a:solidFill>
                        <a:latin typeface="+mn-lt"/>
                        <a:ea typeface="+mn-ea"/>
                        <a:cs typeface="+mn-cs"/>
                      </a:endParaRPr>
                    </a:p>
                  </a:txBody>
                  <a:tcP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bg1"/>
                          </a:solidFill>
                          <a:latin typeface="+mn-lt"/>
                          <a:ea typeface="+mn-ea"/>
                          <a:cs typeface="+mn-cs"/>
                        </a:rPr>
                        <a:t>Support Channel </a:t>
                      </a:r>
                    </a:p>
                  </a:txBody>
                  <a:tcPr>
                    <a:solidFill>
                      <a:schemeClr val="accent3"/>
                    </a:solidFill>
                  </a:tcPr>
                </a:tc>
                <a:extLst>
                  <a:ext uri="{0D108BD9-81ED-4DB2-BD59-A6C34878D82A}">
                    <a16:rowId xmlns:a16="http://schemas.microsoft.com/office/drawing/2014/main" val="385497981"/>
                  </a:ext>
                </a:extLst>
              </a:tr>
              <a:tr h="321544">
                <a:tc>
                  <a:txBody>
                    <a:bodyPr/>
                    <a:lstStyle/>
                    <a:p>
                      <a:r>
                        <a:rPr lang="en-GB" sz="1000" b="1" dirty="0">
                          <a:solidFill>
                            <a:schemeClr val="bg1"/>
                          </a:solidFill>
                        </a:rPr>
                        <a:t>Channel E</a:t>
                      </a:r>
                    </a:p>
                  </a:txBody>
                  <a:tcPr>
                    <a:solidFill>
                      <a:schemeClr val="accent1"/>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pPr marL="0" algn="l" defTabSz="914400" rtl="0" eaLnBrk="1" latinLnBrk="0" hangingPunct="1"/>
                      <a:r>
                        <a:rPr lang="en-GB" sz="800" i="1" kern="1200" dirty="0">
                          <a:solidFill>
                            <a:schemeClr val="dk1"/>
                          </a:solidFill>
                          <a:latin typeface="+mn-lt"/>
                          <a:ea typeface="+mn-ea"/>
                          <a:cs typeface="+mn-cs"/>
                        </a:rPr>
                        <a:t>Assign category engagement based on opportunistic engagement specific to channel dynamics and agreements</a:t>
                      </a:r>
                    </a:p>
                  </a:txBody>
                  <a:tcP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bg1"/>
                          </a:solidFill>
                          <a:latin typeface="+mn-lt"/>
                          <a:ea typeface="+mn-ea"/>
                          <a:cs typeface="+mn-cs"/>
                        </a:rPr>
                        <a:t>Maintain Channel</a:t>
                      </a:r>
                      <a:endParaRPr lang="en-GB" sz="1000" dirty="0">
                        <a:solidFill>
                          <a:schemeClr val="bg1"/>
                        </a:solidFill>
                      </a:endParaRPr>
                    </a:p>
                  </a:txBody>
                  <a:tcPr>
                    <a:solidFill>
                      <a:schemeClr val="accent2"/>
                    </a:solidFill>
                  </a:tcPr>
                </a:tc>
                <a:extLst>
                  <a:ext uri="{0D108BD9-81ED-4DB2-BD59-A6C34878D82A}">
                    <a16:rowId xmlns:a16="http://schemas.microsoft.com/office/drawing/2014/main" val="2428912356"/>
                  </a:ext>
                </a:extLst>
              </a:tr>
              <a:tr h="321544">
                <a:tc>
                  <a:txBody>
                    <a:bodyPr/>
                    <a:lstStyle/>
                    <a:p>
                      <a:r>
                        <a:rPr lang="en-GB" sz="1000" b="1" dirty="0">
                          <a:solidFill>
                            <a:schemeClr val="bg1"/>
                          </a:solidFill>
                        </a:rPr>
                        <a:t>Channel F</a:t>
                      </a:r>
                    </a:p>
                  </a:txBody>
                  <a:tcPr>
                    <a:solidFill>
                      <a:schemeClr val="accent1"/>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i="1" kern="1200" dirty="0">
                          <a:solidFill>
                            <a:schemeClr val="dk1"/>
                          </a:solidFill>
                          <a:latin typeface="+mn-lt"/>
                          <a:ea typeface="+mn-ea"/>
                          <a:cs typeface="+mn-cs"/>
                        </a:rPr>
                        <a:t>Assign category engagement based on opportunistic engagement specific to channel dynamics and agreements</a:t>
                      </a:r>
                    </a:p>
                  </a:txBody>
                  <a:tcP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bg1"/>
                          </a:solidFill>
                          <a:latin typeface="+mn-lt"/>
                          <a:ea typeface="+mn-ea"/>
                          <a:cs typeface="+mn-cs"/>
                        </a:rPr>
                        <a:t>Maintain Channel </a:t>
                      </a:r>
                      <a:endParaRPr lang="en-GB" sz="1000" dirty="0">
                        <a:solidFill>
                          <a:schemeClr val="bg1"/>
                        </a:solidFill>
                      </a:endParaRPr>
                    </a:p>
                  </a:txBody>
                  <a:tcPr>
                    <a:solidFill>
                      <a:schemeClr val="accent2"/>
                    </a:solidFill>
                  </a:tcPr>
                </a:tc>
                <a:extLst>
                  <a:ext uri="{0D108BD9-81ED-4DB2-BD59-A6C34878D82A}">
                    <a16:rowId xmlns:a16="http://schemas.microsoft.com/office/drawing/2014/main" val="1612073081"/>
                  </a:ext>
                </a:extLst>
              </a:tr>
              <a:tr h="321544">
                <a:tc>
                  <a:txBody>
                    <a:bodyPr/>
                    <a:lstStyle/>
                    <a:p>
                      <a:r>
                        <a:rPr lang="en-GB" sz="1000" b="1" dirty="0">
                          <a:solidFill>
                            <a:schemeClr val="bg1"/>
                          </a:solidFill>
                        </a:rPr>
                        <a:t>Channel G </a:t>
                      </a:r>
                    </a:p>
                  </a:txBody>
                  <a:tcPr>
                    <a:solidFill>
                      <a:schemeClr val="accent1"/>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i="1" kern="1200" dirty="0">
                          <a:solidFill>
                            <a:schemeClr val="dk1"/>
                          </a:solidFill>
                          <a:latin typeface="+mn-lt"/>
                          <a:ea typeface="+mn-ea"/>
                          <a:cs typeface="+mn-cs"/>
                        </a:rPr>
                        <a:t>Assign category engagement based on opportunistic engagement specific to channel dynamics and agreements</a:t>
                      </a:r>
                    </a:p>
                  </a:txBody>
                  <a:tcP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bg1"/>
                          </a:solidFill>
                          <a:latin typeface="+mn-lt"/>
                          <a:ea typeface="+mn-ea"/>
                          <a:cs typeface="+mn-cs"/>
                        </a:rPr>
                        <a:t>Maintain Channel </a:t>
                      </a:r>
                      <a:endParaRPr lang="en-GB" sz="1000" dirty="0">
                        <a:solidFill>
                          <a:schemeClr val="bg1"/>
                        </a:solidFill>
                      </a:endParaRPr>
                    </a:p>
                  </a:txBody>
                  <a:tcPr>
                    <a:solidFill>
                      <a:schemeClr val="accent2"/>
                    </a:solidFill>
                  </a:tcPr>
                </a:tc>
                <a:extLst>
                  <a:ext uri="{0D108BD9-81ED-4DB2-BD59-A6C34878D82A}">
                    <a16:rowId xmlns:a16="http://schemas.microsoft.com/office/drawing/2014/main" val="4246901403"/>
                  </a:ext>
                </a:extLst>
              </a:tr>
              <a:tr h="321544">
                <a:tc>
                  <a:txBody>
                    <a:bodyPr/>
                    <a:lstStyle/>
                    <a:p>
                      <a:endParaRPr lang="en-GB" sz="1200" dirty="0">
                        <a:solidFill>
                          <a:schemeClr val="bg1"/>
                        </a:solidFill>
                      </a:endParaRPr>
                    </a:p>
                  </a:txBody>
                  <a:tcPr>
                    <a:solidFill>
                      <a:schemeClr val="accent1"/>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800" dirty="0"/>
                    </a:p>
                  </a:txBody>
                  <a:tcPr>
                    <a:solidFill>
                      <a:schemeClr val="bg1">
                        <a:lumMod val="95000"/>
                      </a:schemeClr>
                    </a:solidFill>
                  </a:tcPr>
                </a:tc>
                <a:tc>
                  <a:txBody>
                    <a:bodyPr/>
                    <a:lstStyle/>
                    <a:p>
                      <a:pPr algn="ctr"/>
                      <a:endParaRPr lang="en-GB" sz="1000" dirty="0"/>
                    </a:p>
                  </a:txBody>
                  <a:tcPr>
                    <a:solidFill>
                      <a:schemeClr val="bg1">
                        <a:lumMod val="95000"/>
                      </a:schemeClr>
                    </a:solidFill>
                  </a:tcPr>
                </a:tc>
                <a:extLst>
                  <a:ext uri="{0D108BD9-81ED-4DB2-BD59-A6C34878D82A}">
                    <a16:rowId xmlns:a16="http://schemas.microsoft.com/office/drawing/2014/main" val="1086604594"/>
                  </a:ext>
                </a:extLst>
              </a:tr>
              <a:tr h="321544">
                <a:tc>
                  <a:txBody>
                    <a:bodyPr/>
                    <a:lstStyle/>
                    <a:p>
                      <a:endParaRPr lang="en-GB" sz="1200" dirty="0">
                        <a:solidFill>
                          <a:schemeClr val="bg1"/>
                        </a:solidFill>
                      </a:endParaRPr>
                    </a:p>
                  </a:txBody>
                  <a:tcPr>
                    <a:solidFill>
                      <a:schemeClr val="accent1"/>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800" dirty="0"/>
                    </a:p>
                  </a:txBody>
                  <a:tcPr>
                    <a:solidFill>
                      <a:schemeClr val="bg1">
                        <a:lumMod val="95000"/>
                      </a:schemeClr>
                    </a:solidFill>
                  </a:tcPr>
                </a:tc>
                <a:tc>
                  <a:txBody>
                    <a:bodyPr/>
                    <a:lstStyle/>
                    <a:p>
                      <a:pPr algn="ctr"/>
                      <a:endParaRPr lang="en-GB" sz="1000" dirty="0"/>
                    </a:p>
                  </a:txBody>
                  <a:tcPr>
                    <a:solidFill>
                      <a:schemeClr val="bg1">
                        <a:lumMod val="95000"/>
                      </a:schemeClr>
                    </a:solidFill>
                  </a:tcPr>
                </a:tc>
                <a:extLst>
                  <a:ext uri="{0D108BD9-81ED-4DB2-BD59-A6C34878D82A}">
                    <a16:rowId xmlns:a16="http://schemas.microsoft.com/office/drawing/2014/main" val="1942931181"/>
                  </a:ext>
                </a:extLst>
              </a:tr>
              <a:tr h="321544">
                <a:tc>
                  <a:txBody>
                    <a:bodyPr/>
                    <a:lstStyle/>
                    <a:p>
                      <a:endParaRPr lang="en-GB" sz="1200" dirty="0">
                        <a:solidFill>
                          <a:schemeClr val="bg1"/>
                        </a:solidFill>
                      </a:endParaRPr>
                    </a:p>
                  </a:txBody>
                  <a:tcPr>
                    <a:solidFill>
                      <a:schemeClr val="accent1"/>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800" dirty="0"/>
                    </a:p>
                  </a:txBody>
                  <a:tcPr>
                    <a:solidFill>
                      <a:schemeClr val="bg1">
                        <a:lumMod val="95000"/>
                      </a:schemeClr>
                    </a:solidFill>
                  </a:tcPr>
                </a:tc>
                <a:tc>
                  <a:txBody>
                    <a:bodyPr/>
                    <a:lstStyle/>
                    <a:p>
                      <a:pPr algn="ctr"/>
                      <a:endParaRPr lang="en-GB" sz="1000" dirty="0"/>
                    </a:p>
                  </a:txBody>
                  <a:tcPr>
                    <a:solidFill>
                      <a:schemeClr val="bg1">
                        <a:lumMod val="95000"/>
                      </a:schemeClr>
                    </a:solidFill>
                  </a:tcPr>
                </a:tc>
                <a:extLst>
                  <a:ext uri="{0D108BD9-81ED-4DB2-BD59-A6C34878D82A}">
                    <a16:rowId xmlns:a16="http://schemas.microsoft.com/office/drawing/2014/main" val="2490979866"/>
                  </a:ext>
                </a:extLst>
              </a:tr>
              <a:tr h="321544">
                <a:tc>
                  <a:txBody>
                    <a:bodyPr/>
                    <a:lstStyle/>
                    <a:p>
                      <a:endParaRPr lang="en-GB" sz="1200" dirty="0">
                        <a:solidFill>
                          <a:schemeClr val="bg1"/>
                        </a:solidFill>
                      </a:endParaRPr>
                    </a:p>
                  </a:txBody>
                  <a:tcPr>
                    <a:solidFill>
                      <a:schemeClr val="accent1"/>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800" dirty="0"/>
                    </a:p>
                  </a:txBody>
                  <a:tcPr>
                    <a:solidFill>
                      <a:schemeClr val="bg1">
                        <a:lumMod val="95000"/>
                      </a:schemeClr>
                    </a:solidFill>
                  </a:tcPr>
                </a:tc>
                <a:tc>
                  <a:txBody>
                    <a:bodyPr/>
                    <a:lstStyle/>
                    <a:p>
                      <a:pPr algn="ctr"/>
                      <a:endParaRPr lang="en-GB" sz="1000" dirty="0"/>
                    </a:p>
                  </a:txBody>
                  <a:tcPr>
                    <a:solidFill>
                      <a:schemeClr val="bg1">
                        <a:lumMod val="95000"/>
                      </a:schemeClr>
                    </a:solidFill>
                  </a:tcPr>
                </a:tc>
                <a:extLst>
                  <a:ext uri="{0D108BD9-81ED-4DB2-BD59-A6C34878D82A}">
                    <a16:rowId xmlns:a16="http://schemas.microsoft.com/office/drawing/2014/main" val="1452815385"/>
                  </a:ext>
                </a:extLst>
              </a:tr>
              <a:tr h="321544">
                <a:tc>
                  <a:txBody>
                    <a:bodyPr/>
                    <a:lstStyle/>
                    <a:p>
                      <a:r>
                        <a:rPr lang="en-GB" sz="1200" dirty="0">
                          <a:solidFill>
                            <a:schemeClr val="bg1"/>
                          </a:solidFill>
                        </a:rPr>
                        <a:t>Totals </a:t>
                      </a:r>
                    </a:p>
                  </a:txBody>
                  <a:tcPr>
                    <a:solidFill>
                      <a:schemeClr val="accent1"/>
                    </a:solidFill>
                  </a:tcPr>
                </a:tc>
                <a:tc>
                  <a:txBody>
                    <a:bodyPr/>
                    <a:lstStyle/>
                    <a:p>
                      <a:r>
                        <a:rPr lang="en-GB" sz="1200" dirty="0">
                          <a:solidFill>
                            <a:schemeClr val="bg1"/>
                          </a:solidFill>
                        </a:rPr>
                        <a:t>US $</a:t>
                      </a:r>
                    </a:p>
                  </a:txBody>
                  <a:tcPr>
                    <a:solidFill>
                      <a:schemeClr val="accent1"/>
                    </a:solidFill>
                  </a:tcPr>
                </a:tc>
                <a:tc>
                  <a:txBody>
                    <a:bodyPr/>
                    <a:lstStyle/>
                    <a:p>
                      <a:r>
                        <a:rPr lang="en-GB" sz="1200" dirty="0">
                          <a:solidFill>
                            <a:schemeClr val="bg1"/>
                          </a:solidFill>
                        </a:rPr>
                        <a:t>100%</a:t>
                      </a:r>
                    </a:p>
                  </a:txBody>
                  <a:tcPr>
                    <a:solidFill>
                      <a:schemeClr val="accent1"/>
                    </a:solidFill>
                  </a:tcPr>
                </a:tc>
                <a:tc>
                  <a:txBody>
                    <a:bodyPr/>
                    <a:lstStyle/>
                    <a:p>
                      <a:r>
                        <a:rPr lang="en-GB" sz="1200" dirty="0">
                          <a:solidFill>
                            <a:schemeClr val="bg1"/>
                          </a:solidFill>
                        </a:rPr>
                        <a:t>US$</a:t>
                      </a:r>
                    </a:p>
                  </a:txBody>
                  <a:tcPr>
                    <a:solidFill>
                      <a:schemeClr val="accent1"/>
                    </a:solidFill>
                  </a:tcPr>
                </a:tc>
                <a:tc>
                  <a:txBody>
                    <a:bodyPr/>
                    <a:lstStyle/>
                    <a:p>
                      <a:r>
                        <a:rPr lang="en-GB" sz="1200" dirty="0">
                          <a:solidFill>
                            <a:schemeClr val="bg1"/>
                          </a:solidFill>
                        </a:rPr>
                        <a:t>100%</a:t>
                      </a:r>
                    </a:p>
                  </a:txBody>
                  <a:tcPr>
                    <a:solidFill>
                      <a:schemeClr val="accent1"/>
                    </a:solidFill>
                  </a:tcPr>
                </a:tc>
                <a:tc>
                  <a:txBody>
                    <a:bodyPr/>
                    <a:lstStyle/>
                    <a:p>
                      <a:endParaRPr lang="en-GB" sz="1200" dirty="0"/>
                    </a:p>
                  </a:txBody>
                  <a:tcPr>
                    <a:solidFill>
                      <a:schemeClr val="bg1"/>
                    </a:solidFill>
                  </a:tcPr>
                </a:tc>
                <a:tc>
                  <a:txBody>
                    <a:bodyPr/>
                    <a:lstStyle/>
                    <a:p>
                      <a:pPr algn="ctr"/>
                      <a:endParaRPr lang="en-GB" sz="1000" dirty="0"/>
                    </a:p>
                  </a:txBody>
                  <a:tcPr>
                    <a:solidFill>
                      <a:schemeClr val="bg1"/>
                    </a:solidFill>
                  </a:tcPr>
                </a:tc>
                <a:extLst>
                  <a:ext uri="{0D108BD9-81ED-4DB2-BD59-A6C34878D82A}">
                    <a16:rowId xmlns:a16="http://schemas.microsoft.com/office/drawing/2014/main" val="1678758876"/>
                  </a:ext>
                </a:extLst>
              </a:tr>
            </a:tbl>
          </a:graphicData>
        </a:graphic>
      </p:graphicFrame>
    </p:spTree>
    <p:extLst>
      <p:ext uri="{BB962C8B-B14F-4D97-AF65-F5344CB8AC3E}">
        <p14:creationId xmlns:p14="http://schemas.microsoft.com/office/powerpoint/2010/main" val="35041992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E0C8180-015B-53FD-4E6A-8FA4BC5158C7}"/>
              </a:ext>
            </a:extLst>
          </p:cNvPr>
          <p:cNvSpPr txBox="1"/>
          <p:nvPr/>
        </p:nvSpPr>
        <p:spPr>
          <a:xfrm>
            <a:off x="116542" y="74495"/>
            <a:ext cx="10056158" cy="800219"/>
          </a:xfrm>
          <a:prstGeom prst="rect">
            <a:avLst/>
          </a:prstGeom>
          <a:solidFill>
            <a:schemeClr val="bg1"/>
          </a:solid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a:t>
            </a: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Key Customers  </a:t>
            </a:r>
          </a:p>
        </p:txBody>
      </p:sp>
      <p:pic>
        <p:nvPicPr>
          <p:cNvPr id="4" name="Picture 3" descr="Logo&#10;&#10;Description automatically generated">
            <a:extLst>
              <a:ext uri="{FF2B5EF4-FFF2-40B4-BE49-F238E27FC236}">
                <a16:creationId xmlns:a16="http://schemas.microsoft.com/office/drawing/2014/main" id="{E5B2D4F2-60C1-81FB-9CE5-9C0CDEAE9F1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5" name="Footer Placeholder 3">
            <a:extLst>
              <a:ext uri="{FF2B5EF4-FFF2-40B4-BE49-F238E27FC236}">
                <a16:creationId xmlns:a16="http://schemas.microsoft.com/office/drawing/2014/main" id="{99478E7F-20EB-302F-6FEB-36A18BB7AE9C}"/>
              </a:ext>
            </a:extLst>
          </p:cNvPr>
          <p:cNvSpPr>
            <a:spLocks noGrp="1"/>
          </p:cNvSpPr>
          <p:nvPr>
            <p:ph type="ftr" sz="quarter" idx="11"/>
          </p:nvPr>
        </p:nvSpPr>
        <p:spPr>
          <a:xfrm>
            <a:off x="403860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Lato Light"/>
                <a:ea typeface="+mn-ea"/>
                <a:cs typeface="+mn-cs"/>
              </a:rPr>
              <a:t>www.upskilpro.com</a:t>
            </a:r>
            <a:endParaRPr kumimoji="0" lang="en-GB" sz="1200" b="0" i="0" u="none" strike="noStrike" kern="1200" cap="none" spc="0" normalizeH="0" baseline="0" noProof="0" dirty="0">
              <a:ln>
                <a:noFill/>
              </a:ln>
              <a:solidFill>
                <a:prstClr val="black">
                  <a:tint val="75000"/>
                </a:prstClr>
              </a:solidFill>
              <a:effectLst/>
              <a:uLnTx/>
              <a:uFillTx/>
              <a:latin typeface="Lato Light"/>
              <a:ea typeface="+mn-ea"/>
              <a:cs typeface="+mn-cs"/>
            </a:endParaRPr>
          </a:p>
        </p:txBody>
      </p:sp>
      <p:graphicFrame>
        <p:nvGraphicFramePr>
          <p:cNvPr id="6" name="Table 5">
            <a:extLst>
              <a:ext uri="{FF2B5EF4-FFF2-40B4-BE49-F238E27FC236}">
                <a16:creationId xmlns:a16="http://schemas.microsoft.com/office/drawing/2014/main" id="{341381D2-16A7-39E7-0943-74D3E04D7329}"/>
              </a:ext>
            </a:extLst>
          </p:cNvPr>
          <p:cNvGraphicFramePr>
            <a:graphicFrameLocks noGrp="1"/>
          </p:cNvGraphicFramePr>
          <p:nvPr/>
        </p:nvGraphicFramePr>
        <p:xfrm>
          <a:off x="464458" y="1265747"/>
          <a:ext cx="10986954" cy="4332776"/>
        </p:xfrm>
        <a:graphic>
          <a:graphicData uri="http://schemas.openxmlformats.org/drawingml/2006/table">
            <a:tbl>
              <a:tblPr firstRow="1" bandRow="1">
                <a:tableStyleId>{5C22544A-7EE6-4342-B048-85BDC9FD1C3A}</a:tableStyleId>
              </a:tblPr>
              <a:tblGrid>
                <a:gridCol w="1014954">
                  <a:extLst>
                    <a:ext uri="{9D8B030D-6E8A-4147-A177-3AD203B41FA5}">
                      <a16:colId xmlns:a16="http://schemas.microsoft.com/office/drawing/2014/main" val="1207560090"/>
                    </a:ext>
                  </a:extLst>
                </a:gridCol>
                <a:gridCol w="1008000">
                  <a:extLst>
                    <a:ext uri="{9D8B030D-6E8A-4147-A177-3AD203B41FA5}">
                      <a16:colId xmlns:a16="http://schemas.microsoft.com/office/drawing/2014/main" val="4118078510"/>
                    </a:ext>
                  </a:extLst>
                </a:gridCol>
                <a:gridCol w="1008000">
                  <a:extLst>
                    <a:ext uri="{9D8B030D-6E8A-4147-A177-3AD203B41FA5}">
                      <a16:colId xmlns:a16="http://schemas.microsoft.com/office/drawing/2014/main" val="3334356696"/>
                    </a:ext>
                  </a:extLst>
                </a:gridCol>
                <a:gridCol w="1008000">
                  <a:extLst>
                    <a:ext uri="{9D8B030D-6E8A-4147-A177-3AD203B41FA5}">
                      <a16:colId xmlns:a16="http://schemas.microsoft.com/office/drawing/2014/main" val="1933254466"/>
                    </a:ext>
                  </a:extLst>
                </a:gridCol>
                <a:gridCol w="1008000">
                  <a:extLst>
                    <a:ext uri="{9D8B030D-6E8A-4147-A177-3AD203B41FA5}">
                      <a16:colId xmlns:a16="http://schemas.microsoft.com/office/drawing/2014/main" val="1085692477"/>
                    </a:ext>
                  </a:extLst>
                </a:gridCol>
                <a:gridCol w="1008000">
                  <a:extLst>
                    <a:ext uri="{9D8B030D-6E8A-4147-A177-3AD203B41FA5}">
                      <a16:colId xmlns:a16="http://schemas.microsoft.com/office/drawing/2014/main" val="2651332724"/>
                    </a:ext>
                  </a:extLst>
                </a:gridCol>
                <a:gridCol w="1008000">
                  <a:extLst>
                    <a:ext uri="{9D8B030D-6E8A-4147-A177-3AD203B41FA5}">
                      <a16:colId xmlns:a16="http://schemas.microsoft.com/office/drawing/2014/main" val="164218929"/>
                    </a:ext>
                  </a:extLst>
                </a:gridCol>
                <a:gridCol w="1008000">
                  <a:extLst>
                    <a:ext uri="{9D8B030D-6E8A-4147-A177-3AD203B41FA5}">
                      <a16:colId xmlns:a16="http://schemas.microsoft.com/office/drawing/2014/main" val="364046904"/>
                    </a:ext>
                  </a:extLst>
                </a:gridCol>
                <a:gridCol w="2916000">
                  <a:extLst>
                    <a:ext uri="{9D8B030D-6E8A-4147-A177-3AD203B41FA5}">
                      <a16:colId xmlns:a16="http://schemas.microsoft.com/office/drawing/2014/main" val="4190060241"/>
                    </a:ext>
                  </a:extLst>
                </a:gridCol>
              </a:tblGrid>
              <a:tr h="372898">
                <a:tc>
                  <a:txBody>
                    <a:bodyPr/>
                    <a:lstStyle/>
                    <a:p>
                      <a:pPr algn="ctr"/>
                      <a:endParaRPr lang="en-GB" sz="1000" dirty="0">
                        <a:solidFill>
                          <a:schemeClr val="bg1"/>
                        </a:solidFill>
                      </a:endParaRPr>
                    </a:p>
                    <a:p>
                      <a:pPr algn="ctr"/>
                      <a:r>
                        <a:rPr lang="en-GB" sz="900" dirty="0">
                          <a:solidFill>
                            <a:schemeClr val="bg1"/>
                          </a:solidFill>
                        </a:rPr>
                        <a:t>Channels </a:t>
                      </a:r>
                    </a:p>
                  </a:txBody>
                  <a:tcPr/>
                </a:tc>
                <a:tc>
                  <a:txBody>
                    <a:bodyPr/>
                    <a:lstStyle/>
                    <a:p>
                      <a:pPr algn="ctr"/>
                      <a:r>
                        <a:rPr lang="en-GB" sz="800" dirty="0">
                          <a:solidFill>
                            <a:schemeClr val="bg1"/>
                          </a:solidFill>
                        </a:rPr>
                        <a:t>REVENUE</a:t>
                      </a:r>
                    </a:p>
                    <a:p>
                      <a:pPr algn="ctr"/>
                      <a:r>
                        <a:rPr lang="en-GB" sz="800" dirty="0">
                          <a:solidFill>
                            <a:schemeClr val="bg1"/>
                          </a:solidFill>
                        </a:rPr>
                        <a:t>Contribution $ </a:t>
                      </a:r>
                    </a:p>
                  </a:txBody>
                  <a:tcPr/>
                </a:tc>
                <a:tc>
                  <a:txBody>
                    <a:bodyPr/>
                    <a:lstStyle/>
                    <a:p>
                      <a:pPr algn="ctr"/>
                      <a:r>
                        <a:rPr lang="en-GB" sz="800" dirty="0">
                          <a:solidFill>
                            <a:schemeClr val="bg1"/>
                          </a:solidFill>
                        </a:rPr>
                        <a:t>REVENUE</a:t>
                      </a:r>
                    </a:p>
                    <a:p>
                      <a:pPr algn="ctr"/>
                      <a:r>
                        <a:rPr lang="en-GB" sz="800" dirty="0">
                          <a:solidFill>
                            <a:schemeClr val="bg1"/>
                          </a:solidFill>
                        </a:rPr>
                        <a:t>Contribution $ </a:t>
                      </a:r>
                    </a:p>
                  </a:txBody>
                  <a:tcPr/>
                </a:tc>
                <a:tc>
                  <a:txBody>
                    <a:bodyPr/>
                    <a:lstStyle/>
                    <a:p>
                      <a:pPr algn="ctr"/>
                      <a:r>
                        <a:rPr lang="en-GB" sz="800" dirty="0">
                          <a:solidFill>
                            <a:schemeClr val="bg1"/>
                          </a:solidFill>
                        </a:rPr>
                        <a:t>REVENUE</a:t>
                      </a:r>
                    </a:p>
                    <a:p>
                      <a:pPr algn="ctr"/>
                      <a:r>
                        <a:rPr lang="en-GB" sz="800" dirty="0">
                          <a:solidFill>
                            <a:schemeClr val="bg1"/>
                          </a:solidFill>
                        </a:rPr>
                        <a:t>Contribution $ </a:t>
                      </a:r>
                    </a:p>
                    <a:p>
                      <a:pPr algn="ctr"/>
                      <a:endParaRPr lang="en-GB" sz="800" dirty="0">
                        <a:solidFill>
                          <a:schemeClr val="bg1"/>
                        </a:solidFill>
                      </a:endParaRPr>
                    </a:p>
                  </a:txBody>
                  <a:tcPr/>
                </a:tc>
                <a:tc>
                  <a:txBody>
                    <a:bodyPr/>
                    <a:lstStyle/>
                    <a:p>
                      <a:pPr algn="ctr"/>
                      <a:r>
                        <a:rPr lang="en-GB" sz="900" dirty="0">
                          <a:solidFill>
                            <a:schemeClr val="bg1"/>
                          </a:solidFill>
                        </a:rPr>
                        <a:t>REVENUE  Contribution %</a:t>
                      </a:r>
                    </a:p>
                    <a:p>
                      <a:pPr algn="ctr"/>
                      <a:endParaRPr lang="en-GB" sz="900" dirty="0">
                        <a:solidFill>
                          <a:schemeClr val="bg1"/>
                        </a:solidFill>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dirty="0">
                          <a:solidFill>
                            <a:schemeClr val="bg1"/>
                          </a:solidFill>
                        </a:rPr>
                        <a:t>REVENUE  Contribution %</a:t>
                      </a:r>
                    </a:p>
                    <a:p>
                      <a:pPr algn="ctr"/>
                      <a:endParaRPr lang="en-GB" sz="900" dirty="0">
                        <a:solidFill>
                          <a:schemeClr val="bg1"/>
                        </a:solidFill>
                      </a:endParaRPr>
                    </a:p>
                  </a:txBody>
                  <a:tcPr/>
                </a:tc>
                <a:tc>
                  <a:txBody>
                    <a:bodyPr/>
                    <a:lstStyle/>
                    <a:p>
                      <a:pPr algn="ctr"/>
                      <a:r>
                        <a:rPr lang="en-GB" sz="900" dirty="0">
                          <a:solidFill>
                            <a:schemeClr val="bg1"/>
                          </a:solidFill>
                        </a:rPr>
                        <a:t>REVENUE  Contribution %</a:t>
                      </a:r>
                    </a:p>
                  </a:txBody>
                  <a:tcPr/>
                </a:tc>
                <a:tc>
                  <a:txBody>
                    <a:bodyPr/>
                    <a:lstStyle/>
                    <a:p>
                      <a:pPr algn="ctr"/>
                      <a:r>
                        <a:rPr lang="en-GB" sz="900" dirty="0">
                          <a:solidFill>
                            <a:schemeClr val="bg1"/>
                          </a:solidFill>
                        </a:rPr>
                        <a:t>TM  Prioritization</a:t>
                      </a:r>
                    </a:p>
                  </a:txBody>
                  <a:tcPr/>
                </a:tc>
                <a:tc>
                  <a:txBody>
                    <a:bodyPr/>
                    <a:lstStyle/>
                    <a:p>
                      <a:pPr algn="ctr"/>
                      <a:endParaRPr lang="en-GB" sz="900" dirty="0">
                        <a:solidFill>
                          <a:schemeClr val="bg1"/>
                        </a:solidFill>
                      </a:endParaRPr>
                    </a:p>
                    <a:p>
                      <a:pPr algn="ctr"/>
                      <a:r>
                        <a:rPr lang="en-GB" sz="900" dirty="0">
                          <a:solidFill>
                            <a:schemeClr val="bg1"/>
                          </a:solidFill>
                        </a:rPr>
                        <a:t>Strategies</a:t>
                      </a:r>
                    </a:p>
                  </a:txBody>
                  <a:tcPr/>
                </a:tc>
                <a:extLst>
                  <a:ext uri="{0D108BD9-81ED-4DB2-BD59-A6C34878D82A}">
                    <a16:rowId xmlns:a16="http://schemas.microsoft.com/office/drawing/2014/main" val="81982691"/>
                  </a:ext>
                </a:extLst>
              </a:tr>
              <a:tr h="29720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chemeClr val="bg1"/>
                          </a:solidFill>
                        </a:rPr>
                        <a:t>Customer  A</a:t>
                      </a:r>
                    </a:p>
                  </a:txBody>
                  <a:tcPr>
                    <a:solidFill>
                      <a:schemeClr val="accent1"/>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pPr algn="ctr"/>
                      <a:r>
                        <a:rPr lang="en-GB" sz="800" b="1" i="1" dirty="0">
                          <a:solidFill>
                            <a:schemeClr val="tx1"/>
                          </a:solidFill>
                        </a:rPr>
                        <a:t>Engage &amp; Drive </a:t>
                      </a:r>
                    </a:p>
                  </a:txBody>
                  <a:tcPr>
                    <a:solidFill>
                      <a:schemeClr val="accent6"/>
                    </a:solidFill>
                  </a:tcPr>
                </a:tc>
                <a:tc>
                  <a:txBody>
                    <a:bodyPr/>
                    <a:lstStyle/>
                    <a:p>
                      <a:pPr algn="ctr"/>
                      <a:endParaRPr lang="en-GB" sz="1000" dirty="0">
                        <a:solidFill>
                          <a:schemeClr val="bg1"/>
                        </a:solidFill>
                      </a:endParaRPr>
                    </a:p>
                  </a:txBody>
                  <a:tcPr>
                    <a:solidFill>
                      <a:schemeClr val="bg1">
                        <a:lumMod val="95000"/>
                      </a:schemeClr>
                    </a:solidFill>
                  </a:tcPr>
                </a:tc>
                <a:extLst>
                  <a:ext uri="{0D108BD9-81ED-4DB2-BD59-A6C34878D82A}">
                    <a16:rowId xmlns:a16="http://schemas.microsoft.com/office/drawing/2014/main" val="3073184419"/>
                  </a:ext>
                </a:extLst>
              </a:tr>
              <a:tr h="29720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chemeClr val="bg1"/>
                          </a:solidFill>
                        </a:rPr>
                        <a:t>Customer  B</a:t>
                      </a:r>
                    </a:p>
                  </a:txBody>
                  <a:tcPr>
                    <a:solidFill>
                      <a:schemeClr val="accent1"/>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i="1" dirty="0">
                          <a:solidFill>
                            <a:schemeClr val="tx1"/>
                          </a:solidFill>
                        </a:rPr>
                        <a:t>Engage &amp; Drive </a:t>
                      </a:r>
                    </a:p>
                  </a:txBody>
                  <a:tcPr>
                    <a:solidFill>
                      <a:schemeClr val="accent6"/>
                    </a:solidFill>
                  </a:tcPr>
                </a:tc>
                <a:tc>
                  <a:txBody>
                    <a:bodyPr/>
                    <a:lstStyle/>
                    <a:p>
                      <a:pPr algn="ctr"/>
                      <a:endParaRPr lang="en-GB" sz="1000" dirty="0">
                        <a:solidFill>
                          <a:schemeClr val="bg1"/>
                        </a:solidFill>
                      </a:endParaRPr>
                    </a:p>
                  </a:txBody>
                  <a:tcPr>
                    <a:solidFill>
                      <a:schemeClr val="bg1">
                        <a:lumMod val="95000"/>
                      </a:schemeClr>
                    </a:solidFill>
                  </a:tcPr>
                </a:tc>
                <a:extLst>
                  <a:ext uri="{0D108BD9-81ED-4DB2-BD59-A6C34878D82A}">
                    <a16:rowId xmlns:a16="http://schemas.microsoft.com/office/drawing/2014/main" val="816221093"/>
                  </a:ext>
                </a:extLst>
              </a:tr>
              <a:tr h="29720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chemeClr val="bg1"/>
                          </a:solidFill>
                        </a:rPr>
                        <a:t>Customer  C</a:t>
                      </a:r>
                    </a:p>
                  </a:txBody>
                  <a:tcPr>
                    <a:solidFill>
                      <a:schemeClr val="accent1"/>
                    </a:solidFill>
                  </a:tcPr>
                </a:tc>
                <a:tc>
                  <a:txBody>
                    <a:bodyPr/>
                    <a:lstStyle/>
                    <a:p>
                      <a:endParaRPr lang="en-GB" sz="1200" dirty="0"/>
                    </a:p>
                  </a:txBody>
                  <a:tcPr>
                    <a:solidFill>
                      <a:schemeClr val="bg1">
                        <a:lumMod val="95000"/>
                      </a:schemeClr>
                    </a:solidFill>
                  </a:tcPr>
                </a:tc>
                <a:tc>
                  <a:txBody>
                    <a:bodyPr/>
                    <a:lstStyle/>
                    <a:p>
                      <a:pPr algn="l"/>
                      <a:endParaRPr lang="en-GB" sz="1200" dirty="0">
                        <a:solidFill>
                          <a:schemeClr val="tx1"/>
                        </a:solidFill>
                      </a:endParaRPr>
                    </a:p>
                  </a:txBody>
                  <a:tcPr>
                    <a:solidFill>
                      <a:schemeClr val="bg1">
                        <a:lumMod val="95000"/>
                      </a:schemeClr>
                    </a:solidFill>
                  </a:tcPr>
                </a:tc>
                <a:tc>
                  <a:txBody>
                    <a:bodyPr/>
                    <a:lstStyle/>
                    <a:p>
                      <a:pPr algn="l"/>
                      <a:endParaRPr lang="en-GB" sz="1200" dirty="0">
                        <a:solidFill>
                          <a:schemeClr val="tx1"/>
                        </a:solidFill>
                      </a:endParaRPr>
                    </a:p>
                  </a:txBody>
                  <a:tcPr>
                    <a:solidFill>
                      <a:schemeClr val="bg1">
                        <a:lumMod val="95000"/>
                      </a:schemeClr>
                    </a:solidFill>
                  </a:tcPr>
                </a:tc>
                <a:tc>
                  <a:txBody>
                    <a:bodyPr/>
                    <a:lstStyle/>
                    <a:p>
                      <a:pPr algn="l"/>
                      <a:endParaRPr lang="en-GB" sz="1200" dirty="0">
                        <a:solidFill>
                          <a:schemeClr val="tx1"/>
                        </a:solidFill>
                      </a:endParaRPr>
                    </a:p>
                  </a:txBody>
                  <a:tcPr>
                    <a:solidFill>
                      <a:schemeClr val="bg1">
                        <a:lumMod val="95000"/>
                      </a:schemeClr>
                    </a:solidFill>
                  </a:tcPr>
                </a:tc>
                <a:tc>
                  <a:txBody>
                    <a:bodyPr/>
                    <a:lstStyle/>
                    <a:p>
                      <a:pPr algn="l"/>
                      <a:endParaRPr lang="en-GB" sz="1200" dirty="0">
                        <a:solidFill>
                          <a:schemeClr val="tx1"/>
                        </a:solidFill>
                      </a:endParaRPr>
                    </a:p>
                  </a:txBody>
                  <a:tcPr>
                    <a:solidFill>
                      <a:schemeClr val="bg1">
                        <a:lumMod val="95000"/>
                      </a:schemeClr>
                    </a:solidFill>
                  </a:tcPr>
                </a:tc>
                <a:tc>
                  <a:txBody>
                    <a:bodyPr/>
                    <a:lstStyle/>
                    <a:p>
                      <a:pPr algn="l"/>
                      <a:endParaRPr lang="en-GB" sz="1200" dirty="0">
                        <a:solidFill>
                          <a:schemeClr val="tx1"/>
                        </a:solidFill>
                      </a:endParaRPr>
                    </a:p>
                  </a:txBody>
                  <a:tcP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i="1" kern="1200" dirty="0">
                          <a:solidFill>
                            <a:schemeClr val="tx1"/>
                          </a:solidFill>
                          <a:latin typeface="+mn-lt"/>
                          <a:ea typeface="+mn-ea"/>
                          <a:cs typeface="+mn-cs"/>
                        </a:rPr>
                        <a:t>Engage &amp; Maintain</a:t>
                      </a:r>
                    </a:p>
                  </a:txBody>
                  <a:tcPr>
                    <a:solidFill>
                      <a:schemeClr val="accent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000" kern="1200" dirty="0">
                        <a:solidFill>
                          <a:schemeClr val="bg1"/>
                        </a:solidFill>
                        <a:latin typeface="+mn-lt"/>
                        <a:ea typeface="+mn-ea"/>
                        <a:cs typeface="+mn-cs"/>
                      </a:endParaRPr>
                    </a:p>
                  </a:txBody>
                  <a:tcPr>
                    <a:solidFill>
                      <a:schemeClr val="bg1">
                        <a:lumMod val="95000"/>
                      </a:schemeClr>
                    </a:solidFill>
                  </a:tcPr>
                </a:tc>
                <a:extLst>
                  <a:ext uri="{0D108BD9-81ED-4DB2-BD59-A6C34878D82A}">
                    <a16:rowId xmlns:a16="http://schemas.microsoft.com/office/drawing/2014/main" val="1130243688"/>
                  </a:ext>
                </a:extLst>
              </a:tr>
              <a:tr h="29720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chemeClr val="bg1"/>
                          </a:solidFill>
                        </a:rPr>
                        <a:t>Customer  D</a:t>
                      </a:r>
                    </a:p>
                  </a:txBody>
                  <a:tcPr>
                    <a:solidFill>
                      <a:schemeClr val="accent1"/>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i="1" kern="1200" dirty="0">
                          <a:solidFill>
                            <a:schemeClr val="tx1"/>
                          </a:solidFill>
                          <a:latin typeface="+mn-lt"/>
                          <a:ea typeface="+mn-ea"/>
                          <a:cs typeface="+mn-cs"/>
                        </a:rPr>
                        <a:t>Engage &amp; Maintain</a:t>
                      </a:r>
                    </a:p>
                  </a:txBody>
                  <a:tcPr>
                    <a:solidFill>
                      <a:schemeClr val="accent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000" kern="1200" dirty="0">
                        <a:solidFill>
                          <a:schemeClr val="bg1"/>
                        </a:solidFill>
                        <a:latin typeface="+mn-lt"/>
                        <a:ea typeface="+mn-ea"/>
                        <a:cs typeface="+mn-cs"/>
                      </a:endParaRPr>
                    </a:p>
                  </a:txBody>
                  <a:tcPr>
                    <a:solidFill>
                      <a:schemeClr val="bg1">
                        <a:lumMod val="95000"/>
                      </a:schemeClr>
                    </a:solidFill>
                  </a:tcPr>
                </a:tc>
                <a:extLst>
                  <a:ext uri="{0D108BD9-81ED-4DB2-BD59-A6C34878D82A}">
                    <a16:rowId xmlns:a16="http://schemas.microsoft.com/office/drawing/2014/main" val="385497981"/>
                  </a:ext>
                </a:extLst>
              </a:tr>
              <a:tr h="3215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chemeClr val="bg1"/>
                          </a:solidFill>
                        </a:rPr>
                        <a:t>Customer  E</a:t>
                      </a:r>
                    </a:p>
                  </a:txBody>
                  <a:tcPr>
                    <a:solidFill>
                      <a:schemeClr val="accent1"/>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i="1" dirty="0">
                          <a:solidFill>
                            <a:schemeClr val="tx1"/>
                          </a:solidFill>
                        </a:rPr>
                        <a:t>Monitor &amp; Manage </a:t>
                      </a:r>
                    </a:p>
                  </a:txBody>
                  <a:tcPr>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000" dirty="0">
                        <a:solidFill>
                          <a:schemeClr val="bg1"/>
                        </a:solidFill>
                      </a:endParaRPr>
                    </a:p>
                  </a:txBody>
                  <a:tcPr>
                    <a:solidFill>
                      <a:schemeClr val="bg1">
                        <a:lumMod val="95000"/>
                      </a:schemeClr>
                    </a:solidFill>
                  </a:tcPr>
                </a:tc>
                <a:extLst>
                  <a:ext uri="{0D108BD9-81ED-4DB2-BD59-A6C34878D82A}">
                    <a16:rowId xmlns:a16="http://schemas.microsoft.com/office/drawing/2014/main" val="2428912356"/>
                  </a:ext>
                </a:extLst>
              </a:tr>
              <a:tr h="3215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chemeClr val="bg1"/>
                          </a:solidFill>
                        </a:rPr>
                        <a:t>Customer  F</a:t>
                      </a:r>
                    </a:p>
                  </a:txBody>
                  <a:tcPr>
                    <a:solidFill>
                      <a:schemeClr val="accent1"/>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i="1" dirty="0">
                          <a:solidFill>
                            <a:schemeClr val="tx1"/>
                          </a:solidFill>
                        </a:rPr>
                        <a:t>Monitor &amp; Manage </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800" b="1" i="1" dirty="0">
                        <a:solidFill>
                          <a:schemeClr val="tx1"/>
                        </a:solidFill>
                      </a:endParaRPr>
                    </a:p>
                  </a:txBody>
                  <a:tcPr>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000" dirty="0">
                        <a:solidFill>
                          <a:schemeClr val="bg1"/>
                        </a:solidFill>
                      </a:endParaRPr>
                    </a:p>
                  </a:txBody>
                  <a:tcPr>
                    <a:solidFill>
                      <a:schemeClr val="bg1">
                        <a:lumMod val="95000"/>
                      </a:schemeClr>
                    </a:solidFill>
                  </a:tcPr>
                </a:tc>
                <a:extLst>
                  <a:ext uri="{0D108BD9-81ED-4DB2-BD59-A6C34878D82A}">
                    <a16:rowId xmlns:a16="http://schemas.microsoft.com/office/drawing/2014/main" val="1612073081"/>
                  </a:ext>
                </a:extLst>
              </a:tr>
              <a:tr h="3215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chemeClr val="bg1"/>
                          </a:solidFill>
                        </a:rPr>
                        <a:t>Customer  G</a:t>
                      </a:r>
                    </a:p>
                  </a:txBody>
                  <a:tcPr>
                    <a:solidFill>
                      <a:schemeClr val="accent1"/>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i="1" dirty="0">
                          <a:solidFill>
                            <a:schemeClr val="tx1"/>
                          </a:solidFill>
                        </a:rPr>
                        <a:t>Monitor &amp; Manage </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800" b="1" i="1" dirty="0">
                        <a:solidFill>
                          <a:schemeClr val="tx1"/>
                        </a:solidFill>
                      </a:endParaRPr>
                    </a:p>
                  </a:txBody>
                  <a:tcPr>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000" dirty="0">
                        <a:solidFill>
                          <a:schemeClr val="bg1"/>
                        </a:solidFill>
                      </a:endParaRPr>
                    </a:p>
                  </a:txBody>
                  <a:tcPr>
                    <a:solidFill>
                      <a:schemeClr val="bg1">
                        <a:lumMod val="95000"/>
                      </a:schemeClr>
                    </a:solidFill>
                  </a:tcPr>
                </a:tc>
                <a:extLst>
                  <a:ext uri="{0D108BD9-81ED-4DB2-BD59-A6C34878D82A}">
                    <a16:rowId xmlns:a16="http://schemas.microsoft.com/office/drawing/2014/main" val="4246901403"/>
                  </a:ext>
                </a:extLst>
              </a:tr>
              <a:tr h="3215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chemeClr val="bg1"/>
                          </a:solidFill>
                        </a:rPr>
                        <a:t>Customer  H</a:t>
                      </a:r>
                    </a:p>
                  </a:txBody>
                  <a:tcPr>
                    <a:solidFill>
                      <a:schemeClr val="accent1"/>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i="1" dirty="0">
                          <a:solidFill>
                            <a:schemeClr val="tx1"/>
                          </a:solidFill>
                        </a:rPr>
                        <a:t>Monitor &amp; Manage </a:t>
                      </a:r>
                    </a:p>
                    <a:p>
                      <a:pPr algn="ctr"/>
                      <a:endParaRPr lang="en-GB" sz="800" b="1" i="1" dirty="0">
                        <a:solidFill>
                          <a:schemeClr val="tx1"/>
                        </a:solidFill>
                      </a:endParaRPr>
                    </a:p>
                  </a:txBody>
                  <a:tcPr>
                    <a:solidFill>
                      <a:schemeClr val="accent2"/>
                    </a:solidFill>
                  </a:tcPr>
                </a:tc>
                <a:tc>
                  <a:txBody>
                    <a:bodyPr/>
                    <a:lstStyle/>
                    <a:p>
                      <a:pPr algn="ctr"/>
                      <a:endParaRPr lang="en-GB" sz="1000" dirty="0"/>
                    </a:p>
                  </a:txBody>
                  <a:tcPr>
                    <a:solidFill>
                      <a:schemeClr val="bg1">
                        <a:lumMod val="95000"/>
                      </a:schemeClr>
                    </a:solidFill>
                  </a:tcPr>
                </a:tc>
                <a:extLst>
                  <a:ext uri="{0D108BD9-81ED-4DB2-BD59-A6C34878D82A}">
                    <a16:rowId xmlns:a16="http://schemas.microsoft.com/office/drawing/2014/main" val="1086604594"/>
                  </a:ext>
                </a:extLst>
              </a:tr>
              <a:tr h="3215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chemeClr val="bg1"/>
                          </a:solidFill>
                        </a:rPr>
                        <a:t>Customer  I</a:t>
                      </a:r>
                    </a:p>
                  </a:txBody>
                  <a:tcPr>
                    <a:solidFill>
                      <a:schemeClr val="accent1"/>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i="1" dirty="0">
                          <a:solidFill>
                            <a:schemeClr val="tx1"/>
                          </a:solidFill>
                        </a:rPr>
                        <a:t>Monitor &amp; Manage </a:t>
                      </a:r>
                    </a:p>
                    <a:p>
                      <a:pPr algn="ctr"/>
                      <a:endParaRPr lang="en-GB" sz="800" b="1" i="1" dirty="0">
                        <a:solidFill>
                          <a:schemeClr val="tx1"/>
                        </a:solidFill>
                      </a:endParaRPr>
                    </a:p>
                  </a:txBody>
                  <a:tcPr>
                    <a:solidFill>
                      <a:schemeClr val="accent2"/>
                    </a:solidFill>
                  </a:tcPr>
                </a:tc>
                <a:tc>
                  <a:txBody>
                    <a:bodyPr/>
                    <a:lstStyle/>
                    <a:p>
                      <a:pPr algn="ctr"/>
                      <a:endParaRPr lang="en-GB" sz="1000" dirty="0"/>
                    </a:p>
                  </a:txBody>
                  <a:tcPr>
                    <a:solidFill>
                      <a:schemeClr val="bg1">
                        <a:lumMod val="95000"/>
                      </a:schemeClr>
                    </a:solidFill>
                  </a:tcPr>
                </a:tc>
                <a:extLst>
                  <a:ext uri="{0D108BD9-81ED-4DB2-BD59-A6C34878D82A}">
                    <a16:rowId xmlns:a16="http://schemas.microsoft.com/office/drawing/2014/main" val="1942931181"/>
                  </a:ext>
                </a:extLst>
              </a:tr>
              <a:tr h="3215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chemeClr val="bg1"/>
                          </a:solidFill>
                        </a:rPr>
                        <a:t>Customer  J</a:t>
                      </a:r>
                    </a:p>
                  </a:txBody>
                  <a:tcPr>
                    <a:solidFill>
                      <a:schemeClr val="accent1"/>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i="1" dirty="0">
                          <a:solidFill>
                            <a:schemeClr val="tx1"/>
                          </a:solidFill>
                        </a:rPr>
                        <a:t>Monitor &amp; Manage </a:t>
                      </a:r>
                    </a:p>
                    <a:p>
                      <a:pPr algn="ctr"/>
                      <a:endParaRPr lang="en-GB" sz="800" b="1" i="1" dirty="0">
                        <a:solidFill>
                          <a:schemeClr val="tx1"/>
                        </a:solidFill>
                      </a:endParaRPr>
                    </a:p>
                  </a:txBody>
                  <a:tcPr>
                    <a:solidFill>
                      <a:schemeClr val="accent2"/>
                    </a:solidFill>
                  </a:tcPr>
                </a:tc>
                <a:tc>
                  <a:txBody>
                    <a:bodyPr/>
                    <a:lstStyle/>
                    <a:p>
                      <a:pPr algn="ctr"/>
                      <a:endParaRPr lang="en-GB" sz="1000" dirty="0"/>
                    </a:p>
                  </a:txBody>
                  <a:tcPr>
                    <a:solidFill>
                      <a:schemeClr val="bg1">
                        <a:lumMod val="95000"/>
                      </a:schemeClr>
                    </a:solidFill>
                  </a:tcPr>
                </a:tc>
                <a:extLst>
                  <a:ext uri="{0D108BD9-81ED-4DB2-BD59-A6C34878D82A}">
                    <a16:rowId xmlns:a16="http://schemas.microsoft.com/office/drawing/2014/main" val="2490979866"/>
                  </a:ext>
                </a:extLst>
              </a:tr>
              <a:tr h="321544">
                <a:tc>
                  <a:txBody>
                    <a:bodyPr/>
                    <a:lstStyle/>
                    <a:p>
                      <a:r>
                        <a:rPr lang="en-GB" sz="1200" dirty="0">
                          <a:solidFill>
                            <a:schemeClr val="bg1"/>
                          </a:solidFill>
                        </a:rPr>
                        <a:t>Rest </a:t>
                      </a:r>
                    </a:p>
                  </a:txBody>
                  <a:tcPr>
                    <a:solidFill>
                      <a:schemeClr val="accent1"/>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pPr algn="ctr"/>
                      <a:r>
                        <a:rPr lang="en-GB" sz="800" b="1" i="1" dirty="0">
                          <a:solidFill>
                            <a:schemeClr val="tx1"/>
                          </a:solidFill>
                        </a:rPr>
                        <a:t>Sales Engagement </a:t>
                      </a:r>
                    </a:p>
                  </a:txBody>
                  <a:tcPr>
                    <a:solidFill>
                      <a:schemeClr val="bg1">
                        <a:lumMod val="95000"/>
                      </a:schemeClr>
                    </a:solidFill>
                  </a:tcPr>
                </a:tc>
                <a:tc>
                  <a:txBody>
                    <a:bodyPr/>
                    <a:lstStyle/>
                    <a:p>
                      <a:pPr algn="ctr"/>
                      <a:endParaRPr lang="en-GB" sz="1000" dirty="0"/>
                    </a:p>
                  </a:txBody>
                  <a:tcPr>
                    <a:solidFill>
                      <a:schemeClr val="bg1">
                        <a:lumMod val="95000"/>
                      </a:schemeClr>
                    </a:solidFill>
                  </a:tcPr>
                </a:tc>
                <a:extLst>
                  <a:ext uri="{0D108BD9-81ED-4DB2-BD59-A6C34878D82A}">
                    <a16:rowId xmlns:a16="http://schemas.microsoft.com/office/drawing/2014/main" val="1452815385"/>
                  </a:ext>
                </a:extLst>
              </a:tr>
              <a:tr h="321544">
                <a:tc>
                  <a:txBody>
                    <a:bodyPr/>
                    <a:lstStyle/>
                    <a:p>
                      <a:r>
                        <a:rPr lang="en-GB" sz="1200" b="1" dirty="0">
                          <a:solidFill>
                            <a:schemeClr val="bg1"/>
                          </a:solidFill>
                        </a:rPr>
                        <a:t>Totals </a:t>
                      </a:r>
                    </a:p>
                  </a:txBody>
                  <a:tcPr>
                    <a:solidFill>
                      <a:schemeClr val="accent1"/>
                    </a:solidFill>
                  </a:tcPr>
                </a:tc>
                <a:tc>
                  <a:txBody>
                    <a:bodyPr/>
                    <a:lstStyle/>
                    <a:p>
                      <a:r>
                        <a:rPr lang="en-GB" sz="1200" b="1" dirty="0">
                          <a:solidFill>
                            <a:schemeClr val="bg1"/>
                          </a:solidFill>
                        </a:rPr>
                        <a:t>US $</a:t>
                      </a:r>
                    </a:p>
                  </a:txBody>
                  <a:tcPr>
                    <a:solidFill>
                      <a:schemeClr val="accent1"/>
                    </a:solidFill>
                  </a:tcPr>
                </a:tc>
                <a:tc>
                  <a:txBody>
                    <a:bodyPr/>
                    <a:lstStyle/>
                    <a:p>
                      <a:r>
                        <a:rPr lang="en-GB" sz="1200" b="1" dirty="0">
                          <a:solidFill>
                            <a:schemeClr val="bg1"/>
                          </a:solidFill>
                        </a:rPr>
                        <a:t>100%</a:t>
                      </a:r>
                    </a:p>
                  </a:txBody>
                  <a:tcPr>
                    <a:solidFill>
                      <a:schemeClr val="accent1"/>
                    </a:solidFill>
                  </a:tcPr>
                </a:tc>
                <a:tc>
                  <a:txBody>
                    <a:bodyPr/>
                    <a:lstStyle/>
                    <a:p>
                      <a:r>
                        <a:rPr lang="en-GB" sz="1200" b="1" dirty="0">
                          <a:solidFill>
                            <a:schemeClr val="bg1"/>
                          </a:solidFill>
                        </a:rPr>
                        <a:t>US$</a:t>
                      </a:r>
                    </a:p>
                  </a:txBody>
                  <a:tcPr>
                    <a:solidFill>
                      <a:schemeClr val="accent1"/>
                    </a:solidFill>
                  </a:tcPr>
                </a:tc>
                <a:tc>
                  <a:txBody>
                    <a:bodyPr/>
                    <a:lstStyle/>
                    <a:p>
                      <a:endParaRPr lang="en-GB" sz="1200" b="1" dirty="0">
                        <a:solidFill>
                          <a:schemeClr val="bg1"/>
                        </a:solidFill>
                      </a:endParaRPr>
                    </a:p>
                  </a:txBody>
                  <a:tcPr>
                    <a:solidFill>
                      <a:schemeClr val="accent1"/>
                    </a:solidFill>
                  </a:tcPr>
                </a:tc>
                <a:tc>
                  <a:txBody>
                    <a:bodyPr/>
                    <a:lstStyle/>
                    <a:p>
                      <a:endParaRPr lang="en-GB" sz="1200" b="1" dirty="0">
                        <a:solidFill>
                          <a:schemeClr val="bg1"/>
                        </a:solidFill>
                      </a:endParaRPr>
                    </a:p>
                  </a:txBody>
                  <a:tcPr>
                    <a:solidFill>
                      <a:schemeClr val="accent1"/>
                    </a:solidFill>
                  </a:tcPr>
                </a:tc>
                <a:tc>
                  <a:txBody>
                    <a:bodyPr/>
                    <a:lstStyle/>
                    <a:p>
                      <a:r>
                        <a:rPr lang="en-GB" sz="1200" b="1" dirty="0">
                          <a:solidFill>
                            <a:schemeClr val="bg1"/>
                          </a:solidFill>
                        </a:rPr>
                        <a:t>100%</a:t>
                      </a:r>
                    </a:p>
                  </a:txBody>
                  <a:tcPr>
                    <a:solidFill>
                      <a:schemeClr val="accent1"/>
                    </a:solidFill>
                  </a:tcPr>
                </a:tc>
                <a:tc>
                  <a:txBody>
                    <a:bodyPr/>
                    <a:lstStyle/>
                    <a:p>
                      <a:pPr algn="ctr"/>
                      <a:endParaRPr lang="en-GB" sz="1000" dirty="0"/>
                    </a:p>
                  </a:txBody>
                  <a:tcPr>
                    <a:solidFill>
                      <a:schemeClr val="bg1"/>
                    </a:solidFill>
                  </a:tcPr>
                </a:tc>
                <a:tc>
                  <a:txBody>
                    <a:bodyPr/>
                    <a:lstStyle/>
                    <a:p>
                      <a:pPr algn="ctr"/>
                      <a:endParaRPr lang="en-GB" sz="1000" dirty="0"/>
                    </a:p>
                  </a:txBody>
                  <a:tcPr>
                    <a:solidFill>
                      <a:schemeClr val="bg1"/>
                    </a:solidFill>
                  </a:tcPr>
                </a:tc>
                <a:extLst>
                  <a:ext uri="{0D108BD9-81ED-4DB2-BD59-A6C34878D82A}">
                    <a16:rowId xmlns:a16="http://schemas.microsoft.com/office/drawing/2014/main" val="1678758876"/>
                  </a:ext>
                </a:extLst>
              </a:tr>
            </a:tbl>
          </a:graphicData>
        </a:graphic>
      </p:graphicFrame>
    </p:spTree>
    <p:extLst>
      <p:ext uri="{BB962C8B-B14F-4D97-AF65-F5344CB8AC3E}">
        <p14:creationId xmlns:p14="http://schemas.microsoft.com/office/powerpoint/2010/main" val="8793307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Logo&#10;&#10;Description automatically generated">
            <a:extLst>
              <a:ext uri="{FF2B5EF4-FFF2-40B4-BE49-F238E27FC236}">
                <a16:creationId xmlns:a16="http://schemas.microsoft.com/office/drawing/2014/main" id="{1B2B2635-462E-4D96-875D-B3F350584D2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09024" y="199287"/>
            <a:ext cx="1601128" cy="372663"/>
          </a:xfrm>
          <a:prstGeom prst="rect">
            <a:avLst/>
          </a:prstGeom>
        </p:spPr>
      </p:pic>
      <p:sp>
        <p:nvSpPr>
          <p:cNvPr id="3" name="TextBox 2">
            <a:extLst>
              <a:ext uri="{FF2B5EF4-FFF2-40B4-BE49-F238E27FC236}">
                <a16:creationId xmlns:a16="http://schemas.microsoft.com/office/drawing/2014/main" id="{A0335EFE-6C4D-B8A4-CED4-4E3BB4BD9375}"/>
              </a:ext>
            </a:extLst>
          </p:cNvPr>
          <p:cNvSpPr txBox="1"/>
          <p:nvPr/>
        </p:nvSpPr>
        <p:spPr>
          <a:xfrm>
            <a:off x="116542" y="74495"/>
            <a:ext cx="10056158" cy="800219"/>
          </a:xfrm>
          <a:prstGeom prst="rect">
            <a:avLst/>
          </a:prstGeom>
          <a:solidFill>
            <a:schemeClr val="bg1"/>
          </a:solid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a:t>
            </a: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ompetitive Analysis</a:t>
            </a:r>
          </a:p>
        </p:txBody>
      </p:sp>
      <p:graphicFrame>
        <p:nvGraphicFramePr>
          <p:cNvPr id="4" name="Table 5">
            <a:extLst>
              <a:ext uri="{FF2B5EF4-FFF2-40B4-BE49-F238E27FC236}">
                <a16:creationId xmlns:a16="http://schemas.microsoft.com/office/drawing/2014/main" id="{C207D49A-AF14-8AC6-FCA3-D731D252A944}"/>
              </a:ext>
            </a:extLst>
          </p:cNvPr>
          <p:cNvGraphicFramePr>
            <a:graphicFrameLocks noGrp="1"/>
          </p:cNvGraphicFramePr>
          <p:nvPr/>
        </p:nvGraphicFramePr>
        <p:xfrm>
          <a:off x="374650" y="1258392"/>
          <a:ext cx="11442700" cy="4643015"/>
        </p:xfrm>
        <a:graphic>
          <a:graphicData uri="http://schemas.openxmlformats.org/drawingml/2006/table">
            <a:tbl>
              <a:tblPr firstRow="1" bandRow="1">
                <a:tableStyleId>{5C22544A-7EE6-4342-B048-85BDC9FD1C3A}</a:tableStyleId>
              </a:tblPr>
              <a:tblGrid>
                <a:gridCol w="2860675">
                  <a:extLst>
                    <a:ext uri="{9D8B030D-6E8A-4147-A177-3AD203B41FA5}">
                      <a16:colId xmlns:a16="http://schemas.microsoft.com/office/drawing/2014/main" val="2184548553"/>
                    </a:ext>
                  </a:extLst>
                </a:gridCol>
                <a:gridCol w="2860675">
                  <a:extLst>
                    <a:ext uri="{9D8B030D-6E8A-4147-A177-3AD203B41FA5}">
                      <a16:colId xmlns:a16="http://schemas.microsoft.com/office/drawing/2014/main" val="1738853937"/>
                    </a:ext>
                  </a:extLst>
                </a:gridCol>
                <a:gridCol w="2860675">
                  <a:extLst>
                    <a:ext uri="{9D8B030D-6E8A-4147-A177-3AD203B41FA5}">
                      <a16:colId xmlns:a16="http://schemas.microsoft.com/office/drawing/2014/main" val="2337464591"/>
                    </a:ext>
                  </a:extLst>
                </a:gridCol>
                <a:gridCol w="2860675">
                  <a:extLst>
                    <a:ext uri="{9D8B030D-6E8A-4147-A177-3AD203B41FA5}">
                      <a16:colId xmlns:a16="http://schemas.microsoft.com/office/drawing/2014/main" val="1299096974"/>
                    </a:ext>
                  </a:extLst>
                </a:gridCol>
              </a:tblGrid>
              <a:tr h="1015895">
                <a:tc gridSpan="4">
                  <a:txBody>
                    <a:bodyPr/>
                    <a:lstStyle/>
                    <a:p>
                      <a:pPr algn="ctr"/>
                      <a:r>
                        <a:rPr lang="en-GB" sz="1800" dirty="0">
                          <a:solidFill>
                            <a:srgbClr val="FF0000"/>
                          </a:solidFill>
                          <a:latin typeface="Lato Light" panose="020F0502020204030203"/>
                        </a:rPr>
                        <a:t>Competitive Analysis </a:t>
                      </a:r>
                    </a:p>
                    <a:p>
                      <a:pPr algn="ctr"/>
                      <a:r>
                        <a:rPr lang="en-GB" sz="1400" b="0" dirty="0">
                          <a:latin typeface="Lato Light" panose="020F0502020204030203"/>
                        </a:rPr>
                        <a:t>To establish the competitive landscape and competitive forces arrayed in a manner in which it can be understood logically and strategically.</a:t>
                      </a:r>
                    </a:p>
                  </a:txBody>
                  <a:tcPr>
                    <a:solidFill>
                      <a:srgbClr val="0091B5"/>
                    </a:solidFill>
                  </a:tcPr>
                </a:tc>
                <a:tc hMerge="1">
                  <a:txBody>
                    <a:bodyPr/>
                    <a:lstStyle/>
                    <a:p>
                      <a:endParaRPr lang="en-GB" dirty="0"/>
                    </a:p>
                  </a:txBody>
                  <a:tcPr/>
                </a:tc>
                <a:tc hMerge="1">
                  <a:txBody>
                    <a:bodyPr/>
                    <a:lstStyle/>
                    <a:p>
                      <a:endParaRPr lang="en-GB" dirty="0"/>
                    </a:p>
                  </a:txBody>
                  <a:tcPr/>
                </a:tc>
                <a:tc hMerge="1">
                  <a:txBody>
                    <a:bodyPr/>
                    <a:lstStyle/>
                    <a:p>
                      <a:endParaRPr lang="en-GB" dirty="0"/>
                    </a:p>
                  </a:txBody>
                  <a:tcPr/>
                </a:tc>
                <a:extLst>
                  <a:ext uri="{0D108BD9-81ED-4DB2-BD59-A6C34878D82A}">
                    <a16:rowId xmlns:a16="http://schemas.microsoft.com/office/drawing/2014/main" val="2271899714"/>
                  </a:ext>
                </a:extLst>
              </a:tr>
              <a:tr h="1076824">
                <a:tc>
                  <a:txBody>
                    <a:bodyPr/>
                    <a:lstStyle/>
                    <a:p>
                      <a:pPr algn="ctr"/>
                      <a:endParaRPr lang="en-GB" sz="1600" b="1" dirty="0">
                        <a:solidFill>
                          <a:srgbClr val="FF0000"/>
                        </a:solidFill>
                        <a:latin typeface="Lato Light" panose="020F0502020204030203"/>
                      </a:endParaRPr>
                    </a:p>
                    <a:p>
                      <a:pPr algn="ctr"/>
                      <a:endParaRPr lang="en-GB" sz="1600" b="1" dirty="0">
                        <a:solidFill>
                          <a:srgbClr val="FF0000"/>
                        </a:solidFill>
                        <a:latin typeface="Lato Light" panose="020F0502020204030203"/>
                      </a:endParaRPr>
                    </a:p>
                    <a:p>
                      <a:pPr algn="ctr"/>
                      <a:r>
                        <a:rPr lang="en-GB" sz="1600" b="1" dirty="0">
                          <a:solidFill>
                            <a:srgbClr val="FF0000"/>
                          </a:solidFill>
                          <a:latin typeface="Lato Light" panose="020F0502020204030203"/>
                        </a:rPr>
                        <a:t>Public Domain </a:t>
                      </a:r>
                    </a:p>
                    <a:p>
                      <a:pPr algn="ctr"/>
                      <a:endParaRPr lang="en-GB" sz="1600" dirty="0">
                        <a:latin typeface="Lato Light" panose="020F0502020204030203"/>
                      </a:endParaRPr>
                    </a:p>
                  </a:txBody>
                  <a:tcPr>
                    <a:solidFill>
                      <a:schemeClr val="bg1">
                        <a:lumMod val="85000"/>
                      </a:schemeClr>
                    </a:solidFill>
                  </a:tcPr>
                </a:tc>
                <a:tc>
                  <a:txBody>
                    <a:bodyPr/>
                    <a:lstStyle/>
                    <a:p>
                      <a:pPr algn="ctr"/>
                      <a:r>
                        <a:rPr lang="en-GB" sz="1200" b="1" dirty="0">
                          <a:solidFill>
                            <a:srgbClr val="FF0000"/>
                          </a:solidFill>
                          <a:latin typeface="Lato Light" panose="020F0502020204030203"/>
                        </a:rPr>
                        <a:t>Step 1 </a:t>
                      </a:r>
                    </a:p>
                    <a:p>
                      <a:pPr algn="ctr"/>
                      <a:r>
                        <a:rPr lang="en-GB" sz="1200" b="1" u="sng" dirty="0">
                          <a:latin typeface="Lato Light" panose="020F0502020204030203"/>
                        </a:rPr>
                        <a:t>Company description</a:t>
                      </a:r>
                    </a:p>
                    <a:p>
                      <a:pPr algn="ctr"/>
                      <a:r>
                        <a:rPr lang="en-GB" sz="1200" b="0" kern="1200" dirty="0">
                          <a:solidFill>
                            <a:schemeClr val="accent1">
                              <a:lumMod val="50000"/>
                            </a:schemeClr>
                          </a:solidFill>
                          <a:latin typeface="Lato Light" panose="020F0502020204030203"/>
                          <a:ea typeface="+mn-ea"/>
                          <a:cs typeface="+mn-cs"/>
                        </a:rPr>
                        <a:t>Demographics , Size and Locations  </a:t>
                      </a:r>
                    </a:p>
                  </a:txBody>
                  <a:tcPr>
                    <a:solidFill>
                      <a:schemeClr val="bg1">
                        <a:lumMod val="85000"/>
                      </a:schemeClr>
                    </a:solidFill>
                  </a:tcPr>
                </a:tc>
                <a:tc>
                  <a:txBody>
                    <a:bodyPr/>
                    <a:lstStyle/>
                    <a:p>
                      <a:pPr algn="ctr"/>
                      <a:r>
                        <a:rPr lang="en-GB" sz="1200" b="1" dirty="0">
                          <a:solidFill>
                            <a:srgbClr val="FF0000"/>
                          </a:solidFill>
                          <a:latin typeface="Lato Light" panose="020F0502020204030203"/>
                        </a:rPr>
                        <a:t>Step 2 </a:t>
                      </a:r>
                    </a:p>
                    <a:p>
                      <a:pPr marL="0" algn="ctr" defTabSz="914400" rtl="0" eaLnBrk="1" latinLnBrk="0" hangingPunct="1"/>
                      <a:r>
                        <a:rPr lang="en-GB" sz="1200" b="1" u="sng" kern="1200" dirty="0">
                          <a:solidFill>
                            <a:schemeClr val="tx1"/>
                          </a:solidFill>
                          <a:latin typeface="Lato Light" panose="020F0502020204030203"/>
                          <a:ea typeface="+mn-ea"/>
                          <a:cs typeface="+mn-cs"/>
                        </a:rPr>
                        <a:t>Summary of key management</a:t>
                      </a:r>
                    </a:p>
                    <a:p>
                      <a:pPr marL="0" algn="ctr" defTabSz="914400" rtl="0" eaLnBrk="1" latinLnBrk="0" hangingPunct="1"/>
                      <a:r>
                        <a:rPr lang="en-GB" sz="1200" b="0" kern="1200" dirty="0">
                          <a:solidFill>
                            <a:schemeClr val="accent1">
                              <a:lumMod val="50000"/>
                            </a:schemeClr>
                          </a:solidFill>
                          <a:latin typeface="Lato Light" panose="020F0502020204030203"/>
                          <a:ea typeface="+mn-ea"/>
                          <a:cs typeface="+mn-cs"/>
                        </a:rPr>
                        <a:t>Identify the management structure and their strengths , this will be an indicator of past successes and possible future alignments </a:t>
                      </a:r>
                    </a:p>
                  </a:txBody>
                  <a:tcPr>
                    <a:solidFill>
                      <a:schemeClr val="bg1">
                        <a:lumMod val="85000"/>
                      </a:schemeClr>
                    </a:solidFill>
                  </a:tcPr>
                </a:tc>
                <a:tc>
                  <a:txBody>
                    <a:bodyPr/>
                    <a:lstStyle/>
                    <a:p>
                      <a:pPr algn="ctr"/>
                      <a:r>
                        <a:rPr lang="en-GB" sz="1200" b="1" dirty="0">
                          <a:solidFill>
                            <a:srgbClr val="FF0000"/>
                          </a:solidFill>
                          <a:latin typeface="Lato Light" panose="020F0502020204030203"/>
                        </a:rPr>
                        <a:t>Step 3 </a:t>
                      </a:r>
                    </a:p>
                    <a:p>
                      <a:pPr marL="0" algn="ctr" defTabSz="914400" rtl="0" eaLnBrk="1" latinLnBrk="0" hangingPunct="1"/>
                      <a:r>
                        <a:rPr lang="en-GB" sz="1200" b="1" u="sng" kern="1200" dirty="0">
                          <a:solidFill>
                            <a:schemeClr val="tx1"/>
                          </a:solidFill>
                          <a:latin typeface="Lato Light" panose="020F0502020204030203"/>
                          <a:ea typeface="+mn-ea"/>
                          <a:cs typeface="+mn-cs"/>
                        </a:rPr>
                        <a:t>Financials </a:t>
                      </a:r>
                    </a:p>
                    <a:p>
                      <a:pPr marL="0" algn="ctr" defTabSz="914400" rtl="0" eaLnBrk="1" latinLnBrk="0" hangingPunct="1"/>
                      <a:r>
                        <a:rPr lang="en-GB" sz="1200" b="0" kern="1200" dirty="0">
                          <a:solidFill>
                            <a:schemeClr val="accent1">
                              <a:lumMod val="50000"/>
                            </a:schemeClr>
                          </a:solidFill>
                          <a:latin typeface="Lato Light" panose="020F0502020204030203"/>
                          <a:ea typeface="+mn-ea"/>
                          <a:cs typeface="+mn-cs"/>
                        </a:rPr>
                        <a:t>Publicly available financials preferably trended over a period </a:t>
                      </a:r>
                    </a:p>
                  </a:txBody>
                  <a:tcPr>
                    <a:solidFill>
                      <a:schemeClr val="bg1">
                        <a:lumMod val="85000"/>
                      </a:schemeClr>
                    </a:solidFill>
                  </a:tcPr>
                </a:tc>
                <a:extLst>
                  <a:ext uri="{0D108BD9-81ED-4DB2-BD59-A6C34878D82A}">
                    <a16:rowId xmlns:a16="http://schemas.microsoft.com/office/drawing/2014/main" val="4263148595"/>
                  </a:ext>
                </a:extLst>
              </a:tr>
              <a:tr h="848224">
                <a:tc>
                  <a:txBody>
                    <a:bodyPr/>
                    <a:lstStyle/>
                    <a:p>
                      <a:pPr algn="ctr"/>
                      <a:endParaRPr lang="en-GB" sz="1600" b="1" dirty="0">
                        <a:solidFill>
                          <a:srgbClr val="FF0000"/>
                        </a:solidFill>
                        <a:latin typeface="Lato Light" panose="020F0502020204030203"/>
                      </a:endParaRPr>
                    </a:p>
                    <a:p>
                      <a:pPr algn="ctr"/>
                      <a:endParaRPr lang="en-GB" sz="1600" b="1" dirty="0">
                        <a:solidFill>
                          <a:srgbClr val="FF0000"/>
                        </a:solidFill>
                        <a:latin typeface="Lato Light" panose="020F0502020204030203"/>
                      </a:endParaRPr>
                    </a:p>
                    <a:p>
                      <a:pPr algn="ctr"/>
                      <a:r>
                        <a:rPr lang="en-GB" sz="1600" b="1" dirty="0">
                          <a:solidFill>
                            <a:srgbClr val="FF0000"/>
                          </a:solidFill>
                          <a:latin typeface="Lato Light" panose="020F0502020204030203"/>
                        </a:rPr>
                        <a:t>Evaluation  </a:t>
                      </a:r>
                    </a:p>
                    <a:p>
                      <a:pPr algn="ctr"/>
                      <a:endParaRPr lang="en-GB" sz="1600" dirty="0">
                        <a:latin typeface="Lato Light" panose="020F0502020204030203"/>
                      </a:endParaRPr>
                    </a:p>
                  </a:txBody>
                  <a:tcPr>
                    <a:solidFill>
                      <a:schemeClr val="bg1">
                        <a:lumMod val="85000"/>
                      </a:schemeClr>
                    </a:solidFill>
                  </a:tcPr>
                </a:tc>
                <a:tc>
                  <a:txBody>
                    <a:bodyPr/>
                    <a:lstStyle/>
                    <a:p>
                      <a:pPr algn="ctr"/>
                      <a:r>
                        <a:rPr lang="en-GB" sz="1200" b="1" dirty="0">
                          <a:solidFill>
                            <a:srgbClr val="FF0000"/>
                          </a:solidFill>
                          <a:latin typeface="Lato Light" panose="020F0502020204030203"/>
                        </a:rPr>
                        <a:t>Step 5 </a:t>
                      </a:r>
                    </a:p>
                    <a:p>
                      <a:pPr marL="0" algn="ctr" defTabSz="914400" rtl="0" eaLnBrk="1" latinLnBrk="0" hangingPunct="1"/>
                      <a:r>
                        <a:rPr lang="en-GB" sz="1200" b="1" u="sng" kern="1200" dirty="0">
                          <a:solidFill>
                            <a:schemeClr val="accent1">
                              <a:lumMod val="50000"/>
                            </a:schemeClr>
                          </a:solidFill>
                          <a:latin typeface="Lato Light" panose="020F0502020204030203"/>
                          <a:ea typeface="+mn-ea"/>
                          <a:cs typeface="+mn-cs"/>
                        </a:rPr>
                        <a:t>Product / Services </a:t>
                      </a:r>
                    </a:p>
                    <a:p>
                      <a:pPr marL="0" algn="ctr" defTabSz="914400" rtl="0" eaLnBrk="1" latinLnBrk="0" hangingPunct="1"/>
                      <a:r>
                        <a:rPr lang="en-GB" sz="1200" b="0" kern="1200" dirty="0">
                          <a:solidFill>
                            <a:schemeClr val="accent1">
                              <a:lumMod val="50000"/>
                            </a:schemeClr>
                          </a:solidFill>
                          <a:latin typeface="Lato Light" panose="020F0502020204030203"/>
                          <a:ea typeface="+mn-ea"/>
                          <a:cs typeface="+mn-cs"/>
                        </a:rPr>
                        <a:t>Rank the key attributes and rank them for objectivity</a:t>
                      </a:r>
                      <a:endParaRPr lang="en-GB" sz="1200" dirty="0">
                        <a:latin typeface="Lato Light" panose="020F0502020204030203"/>
                      </a:endParaRPr>
                    </a:p>
                  </a:txBody>
                  <a:tcPr>
                    <a:solidFill>
                      <a:schemeClr val="bg1">
                        <a:lumMod val="85000"/>
                      </a:schemeClr>
                    </a:solidFill>
                  </a:tcPr>
                </a:tc>
                <a:tc>
                  <a:txBody>
                    <a:bodyPr/>
                    <a:lstStyle/>
                    <a:p>
                      <a:pPr algn="ctr"/>
                      <a:r>
                        <a:rPr lang="en-GB" sz="1200" b="1" dirty="0">
                          <a:solidFill>
                            <a:srgbClr val="FF0000"/>
                          </a:solidFill>
                          <a:latin typeface="Lato Light" panose="020F0502020204030203"/>
                        </a:rPr>
                        <a:t>Step 5</a:t>
                      </a:r>
                    </a:p>
                    <a:p>
                      <a:pPr marL="0" algn="ctr" defTabSz="914400" rtl="0" eaLnBrk="1" latinLnBrk="0" hangingPunct="1"/>
                      <a:r>
                        <a:rPr lang="en-GB" sz="1200" b="1" u="sng" kern="1200" dirty="0">
                          <a:solidFill>
                            <a:schemeClr val="accent1">
                              <a:lumMod val="50000"/>
                            </a:schemeClr>
                          </a:solidFill>
                          <a:latin typeface="Lato Light" panose="020F0502020204030203"/>
                          <a:ea typeface="+mn-ea"/>
                          <a:cs typeface="+mn-cs"/>
                        </a:rPr>
                        <a:t>Strategy ( Sales &amp; Marketing ) </a:t>
                      </a:r>
                      <a:r>
                        <a:rPr lang="en-GB" sz="1200" b="0" kern="1200" dirty="0">
                          <a:solidFill>
                            <a:schemeClr val="accent1">
                              <a:lumMod val="50000"/>
                            </a:schemeClr>
                          </a:solidFill>
                          <a:latin typeface="Lato Light" panose="020F0502020204030203"/>
                          <a:ea typeface="+mn-ea"/>
                          <a:cs typeface="+mn-cs"/>
                        </a:rPr>
                        <a:t>brand positioning consistently along identified drivers </a:t>
                      </a:r>
                      <a:endParaRPr lang="en-GB" sz="1200" dirty="0">
                        <a:latin typeface="Lato Light" panose="020F0502020204030203"/>
                      </a:endParaRPr>
                    </a:p>
                  </a:txBody>
                  <a:tcPr>
                    <a:solidFill>
                      <a:schemeClr val="bg1">
                        <a:lumMod val="85000"/>
                      </a:schemeClr>
                    </a:solidFill>
                  </a:tcPr>
                </a:tc>
                <a:tc>
                  <a:txBody>
                    <a:bodyPr/>
                    <a:lstStyle/>
                    <a:p>
                      <a:pPr algn="ctr"/>
                      <a:r>
                        <a:rPr lang="en-GB" sz="1200" b="1" dirty="0">
                          <a:solidFill>
                            <a:srgbClr val="FF0000"/>
                          </a:solidFill>
                          <a:latin typeface="Lato Light" panose="020F0502020204030203"/>
                        </a:rPr>
                        <a:t>Step 6 </a:t>
                      </a:r>
                    </a:p>
                    <a:p>
                      <a:pPr marL="0" algn="ctr" defTabSz="914400" rtl="0" eaLnBrk="1" latinLnBrk="0" hangingPunct="1"/>
                      <a:r>
                        <a:rPr lang="en-GB" sz="1200" b="1" u="sng" kern="1200" dirty="0">
                          <a:solidFill>
                            <a:schemeClr val="accent1">
                              <a:lumMod val="50000"/>
                            </a:schemeClr>
                          </a:solidFill>
                          <a:latin typeface="Lato Light" panose="020F0502020204030203"/>
                          <a:ea typeface="+mn-ea"/>
                          <a:cs typeface="+mn-cs"/>
                        </a:rPr>
                        <a:t>Positioning analysis </a:t>
                      </a:r>
                    </a:p>
                    <a:p>
                      <a:pPr marL="0" algn="ctr" defTabSz="914400" rtl="0" eaLnBrk="1" latinLnBrk="0" hangingPunct="1"/>
                      <a:r>
                        <a:rPr lang="en-GB" sz="1200" b="0" u="none" kern="1200" dirty="0">
                          <a:solidFill>
                            <a:schemeClr val="accent1">
                              <a:lumMod val="50000"/>
                            </a:schemeClr>
                          </a:solidFill>
                          <a:latin typeface="Lato Light" panose="020F0502020204030203"/>
                          <a:ea typeface="+mn-ea"/>
                          <a:cs typeface="+mn-cs"/>
                        </a:rPr>
                        <a:t>Stress of key areas of differentiation where you measure or state the uniqueness exists</a:t>
                      </a:r>
                      <a:endParaRPr lang="en-GB" sz="1200" b="0" u="none" dirty="0">
                        <a:latin typeface="Lato Light" panose="020F0502020204030203"/>
                      </a:endParaRPr>
                    </a:p>
                  </a:txBody>
                  <a:tcPr>
                    <a:solidFill>
                      <a:schemeClr val="bg1">
                        <a:lumMod val="85000"/>
                      </a:schemeClr>
                    </a:solidFill>
                  </a:tcPr>
                </a:tc>
                <a:extLst>
                  <a:ext uri="{0D108BD9-81ED-4DB2-BD59-A6C34878D82A}">
                    <a16:rowId xmlns:a16="http://schemas.microsoft.com/office/drawing/2014/main" val="1884081402"/>
                  </a:ext>
                </a:extLst>
              </a:tr>
              <a:tr h="1076824">
                <a:tc>
                  <a:txBody>
                    <a:bodyPr/>
                    <a:lstStyle/>
                    <a:p>
                      <a:pPr algn="ctr"/>
                      <a:endParaRPr lang="en-GB" sz="1600" b="1" dirty="0">
                        <a:solidFill>
                          <a:srgbClr val="FF0000"/>
                        </a:solidFill>
                        <a:latin typeface="Lato Light" panose="020F0502020204030203"/>
                      </a:endParaRPr>
                    </a:p>
                    <a:p>
                      <a:pPr algn="ctr"/>
                      <a:endParaRPr lang="en-GB" sz="1600" b="1" dirty="0">
                        <a:solidFill>
                          <a:srgbClr val="FF0000"/>
                        </a:solidFill>
                        <a:latin typeface="Lato Light" panose="020F0502020204030203"/>
                      </a:endParaRPr>
                    </a:p>
                    <a:p>
                      <a:pPr algn="ctr"/>
                      <a:r>
                        <a:rPr lang="en-GB" sz="1600" b="1" dirty="0">
                          <a:solidFill>
                            <a:srgbClr val="FF0000"/>
                          </a:solidFill>
                          <a:latin typeface="Lato Light" panose="020F0502020204030203"/>
                        </a:rPr>
                        <a:t>Estimation </a:t>
                      </a:r>
                    </a:p>
                    <a:p>
                      <a:pPr algn="ctr"/>
                      <a:endParaRPr lang="en-GB" sz="1600" dirty="0">
                        <a:latin typeface="Lato Light" panose="020F0502020204030203"/>
                      </a:endParaRPr>
                    </a:p>
                  </a:txBody>
                  <a:tcPr>
                    <a:solidFill>
                      <a:schemeClr val="bg1">
                        <a:lumMod val="85000"/>
                      </a:schemeClr>
                    </a:solidFill>
                  </a:tcPr>
                </a:tc>
                <a:tc>
                  <a:txBody>
                    <a:bodyPr/>
                    <a:lstStyle/>
                    <a:p>
                      <a:pPr algn="ctr"/>
                      <a:r>
                        <a:rPr lang="en-GB" sz="1200" b="1" dirty="0">
                          <a:solidFill>
                            <a:srgbClr val="FF0000"/>
                          </a:solidFill>
                          <a:latin typeface="Lato Light" panose="020F0502020204030203"/>
                        </a:rPr>
                        <a:t>Step 7 </a:t>
                      </a:r>
                    </a:p>
                    <a:p>
                      <a:pPr marL="0" algn="ctr" defTabSz="914400" rtl="0" eaLnBrk="1" latinLnBrk="0" hangingPunct="1"/>
                      <a:r>
                        <a:rPr lang="en-GB" sz="1200" b="1" u="sng" kern="1200" dirty="0">
                          <a:solidFill>
                            <a:schemeClr val="accent1">
                              <a:lumMod val="50000"/>
                            </a:schemeClr>
                          </a:solidFill>
                          <a:latin typeface="Lato Light" panose="020F0502020204030203"/>
                          <a:ea typeface="+mn-ea"/>
                          <a:cs typeface="+mn-cs"/>
                        </a:rPr>
                        <a:t>Threats </a:t>
                      </a:r>
                    </a:p>
                    <a:p>
                      <a:pPr marL="0" algn="ctr" defTabSz="914400" rtl="0" eaLnBrk="1" latinLnBrk="0" hangingPunct="1"/>
                      <a:r>
                        <a:rPr lang="en-GB" sz="1200" b="0" kern="1200" dirty="0">
                          <a:solidFill>
                            <a:schemeClr val="accent1">
                              <a:lumMod val="50000"/>
                            </a:schemeClr>
                          </a:solidFill>
                          <a:latin typeface="Lato Light" panose="020F0502020204030203"/>
                          <a:ea typeface="+mn-ea"/>
                          <a:cs typeface="+mn-cs"/>
                        </a:rPr>
                        <a:t>Look at threats both as short terms and long term , establish threats across a variety of drivers/attributes </a:t>
                      </a:r>
                      <a:endParaRPr lang="en-GB" sz="1200" dirty="0">
                        <a:latin typeface="Lato Light" panose="020F0502020204030203"/>
                      </a:endParaRPr>
                    </a:p>
                  </a:txBody>
                  <a:tcPr>
                    <a:solidFill>
                      <a:schemeClr val="bg1">
                        <a:lumMod val="85000"/>
                      </a:schemeClr>
                    </a:solidFill>
                  </a:tcPr>
                </a:tc>
                <a:tc>
                  <a:txBody>
                    <a:bodyPr/>
                    <a:lstStyle/>
                    <a:p>
                      <a:pPr algn="ctr"/>
                      <a:r>
                        <a:rPr lang="en-GB" sz="1200" b="1" dirty="0">
                          <a:solidFill>
                            <a:srgbClr val="FF0000"/>
                          </a:solidFill>
                          <a:latin typeface="Lato Light" panose="020F0502020204030203"/>
                        </a:rPr>
                        <a:t>Step 8 </a:t>
                      </a:r>
                    </a:p>
                    <a:p>
                      <a:pPr marL="0" algn="ctr" defTabSz="914400" rtl="0" eaLnBrk="1" latinLnBrk="0" hangingPunct="1"/>
                      <a:r>
                        <a:rPr lang="en-GB" sz="1200" b="1" u="sng" kern="1200" dirty="0">
                          <a:solidFill>
                            <a:schemeClr val="accent1">
                              <a:lumMod val="50000"/>
                            </a:schemeClr>
                          </a:solidFill>
                          <a:latin typeface="Lato Light" panose="020F0502020204030203"/>
                          <a:ea typeface="+mn-ea"/>
                          <a:cs typeface="+mn-cs"/>
                        </a:rPr>
                        <a:t>Opportunities  </a:t>
                      </a:r>
                    </a:p>
                    <a:p>
                      <a:pPr marL="0" algn="ctr" defTabSz="914400" rtl="0" eaLnBrk="1" latinLnBrk="0" hangingPunct="1"/>
                      <a:r>
                        <a:rPr lang="en-GB" sz="1200" b="0" u="none" kern="1200" dirty="0">
                          <a:solidFill>
                            <a:schemeClr val="accent1">
                              <a:lumMod val="50000"/>
                            </a:schemeClr>
                          </a:solidFill>
                          <a:latin typeface="Lato Light" panose="020F0502020204030203"/>
                          <a:ea typeface="+mn-ea"/>
                          <a:cs typeface="+mn-cs"/>
                        </a:rPr>
                        <a:t>The opportunities exist externally and internally, the external ones represent direct revenue the internal ones reflection.</a:t>
                      </a:r>
                    </a:p>
                    <a:p>
                      <a:pPr algn="ctr"/>
                      <a:endParaRPr lang="en-GB" sz="1200" dirty="0">
                        <a:latin typeface="Lato Light" panose="020F0502020204030203"/>
                      </a:endParaRPr>
                    </a:p>
                  </a:txBody>
                  <a:tcPr>
                    <a:solidFill>
                      <a:schemeClr val="bg1">
                        <a:lumMod val="85000"/>
                      </a:schemeClr>
                    </a:solidFill>
                  </a:tcPr>
                </a:tc>
                <a:tc>
                  <a:txBody>
                    <a:bodyPr/>
                    <a:lstStyle/>
                    <a:p>
                      <a:pPr marL="0" algn="ctr" defTabSz="914400" rtl="0" eaLnBrk="1" latinLnBrk="0" hangingPunct="1"/>
                      <a:endParaRPr lang="en-GB" sz="1200" b="0" u="none" kern="1200" dirty="0">
                        <a:solidFill>
                          <a:schemeClr val="accent1">
                            <a:lumMod val="50000"/>
                          </a:schemeClr>
                        </a:solidFill>
                        <a:latin typeface="Lato Light" panose="020F0502020204030203"/>
                        <a:ea typeface="+mn-ea"/>
                        <a:cs typeface="+mn-cs"/>
                      </a:endParaRPr>
                    </a:p>
                    <a:p>
                      <a:pPr algn="ctr"/>
                      <a:endParaRPr lang="en-GB" sz="1200" dirty="0">
                        <a:latin typeface="Lato Light" panose="020F0502020204030203"/>
                      </a:endParaRPr>
                    </a:p>
                  </a:txBody>
                  <a:tcPr>
                    <a:solidFill>
                      <a:schemeClr val="bg1">
                        <a:lumMod val="85000"/>
                      </a:schemeClr>
                    </a:solidFill>
                  </a:tcPr>
                </a:tc>
                <a:extLst>
                  <a:ext uri="{0D108BD9-81ED-4DB2-BD59-A6C34878D82A}">
                    <a16:rowId xmlns:a16="http://schemas.microsoft.com/office/drawing/2014/main" val="2656081591"/>
                  </a:ext>
                </a:extLst>
              </a:tr>
            </a:tbl>
          </a:graphicData>
        </a:graphic>
      </p:graphicFrame>
    </p:spTree>
    <p:extLst>
      <p:ext uri="{BB962C8B-B14F-4D97-AF65-F5344CB8AC3E}">
        <p14:creationId xmlns:p14="http://schemas.microsoft.com/office/powerpoint/2010/main" val="15123997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Freeform 50"/>
          <p:cNvSpPr>
            <a:spLocks/>
          </p:cNvSpPr>
          <p:nvPr/>
        </p:nvSpPr>
        <p:spPr bwMode="auto">
          <a:xfrm>
            <a:off x="6964890" y="0"/>
            <a:ext cx="5227110" cy="2595385"/>
          </a:xfrm>
          <a:custGeom>
            <a:avLst/>
            <a:gdLst>
              <a:gd name="T0" fmla="*/ 719 w 3287"/>
              <a:gd name="T1" fmla="*/ 0 h 1633"/>
              <a:gd name="T2" fmla="*/ 3287 w 3287"/>
              <a:gd name="T3" fmla="*/ 0 h 1633"/>
              <a:gd name="T4" fmla="*/ 3287 w 3287"/>
              <a:gd name="T5" fmla="*/ 0 h 1633"/>
              <a:gd name="T6" fmla="*/ 394 w 3287"/>
              <a:gd name="T7" fmla="*/ 1633 h 1633"/>
              <a:gd name="T8" fmla="*/ 334 w 3287"/>
              <a:gd name="T9" fmla="*/ 1538 h 1633"/>
              <a:gd name="T10" fmla="*/ 262 w 3287"/>
              <a:gd name="T11" fmla="*/ 1450 h 1633"/>
              <a:gd name="T12" fmla="*/ 183 w 3287"/>
              <a:gd name="T13" fmla="*/ 1369 h 1633"/>
              <a:gd name="T14" fmla="*/ 95 w 3287"/>
              <a:gd name="T15" fmla="*/ 1297 h 1633"/>
              <a:gd name="T16" fmla="*/ 0 w 3287"/>
              <a:gd name="T17" fmla="*/ 1234 h 1633"/>
              <a:gd name="T18" fmla="*/ 719 w 3287"/>
              <a:gd name="T19" fmla="*/ 0 h 1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87" h="1633">
                <a:moveTo>
                  <a:pt x="719" y="0"/>
                </a:moveTo>
                <a:lnTo>
                  <a:pt x="3287" y="0"/>
                </a:lnTo>
                <a:lnTo>
                  <a:pt x="3287" y="0"/>
                </a:lnTo>
                <a:lnTo>
                  <a:pt x="394" y="1633"/>
                </a:lnTo>
                <a:lnTo>
                  <a:pt x="334" y="1538"/>
                </a:lnTo>
                <a:lnTo>
                  <a:pt x="262" y="1450"/>
                </a:lnTo>
                <a:lnTo>
                  <a:pt x="183" y="1369"/>
                </a:lnTo>
                <a:lnTo>
                  <a:pt x="95" y="1297"/>
                </a:lnTo>
                <a:lnTo>
                  <a:pt x="0" y="1234"/>
                </a:lnTo>
                <a:lnTo>
                  <a:pt x="719" y="0"/>
                </a:lnTo>
                <a:close/>
              </a:path>
            </a:pathLst>
          </a:custGeom>
          <a:solidFill>
            <a:schemeClr val="accent3"/>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48" name="Freeform 46"/>
          <p:cNvSpPr>
            <a:spLocks/>
          </p:cNvSpPr>
          <p:nvPr/>
        </p:nvSpPr>
        <p:spPr bwMode="auto">
          <a:xfrm>
            <a:off x="4123396" y="0"/>
            <a:ext cx="1969432" cy="1953294"/>
          </a:xfrm>
          <a:custGeom>
            <a:avLst/>
            <a:gdLst>
              <a:gd name="T0" fmla="*/ 0 w 1238"/>
              <a:gd name="T1" fmla="*/ 0 h 1229"/>
              <a:gd name="T2" fmla="*/ 1238 w 1238"/>
              <a:gd name="T3" fmla="*/ 0 h 1229"/>
              <a:gd name="T4" fmla="*/ 1238 w 1238"/>
              <a:gd name="T5" fmla="*/ 1088 h 1229"/>
              <a:gd name="T6" fmla="*/ 1238 w 1238"/>
              <a:gd name="T7" fmla="*/ 1088 h 1229"/>
              <a:gd name="T8" fmla="*/ 1121 w 1238"/>
              <a:gd name="T9" fmla="*/ 1095 h 1229"/>
              <a:gd name="T10" fmla="*/ 1012 w 1238"/>
              <a:gd name="T11" fmla="*/ 1113 h 1229"/>
              <a:gd name="T12" fmla="*/ 903 w 1238"/>
              <a:gd name="T13" fmla="*/ 1141 h 1229"/>
              <a:gd name="T14" fmla="*/ 801 w 1238"/>
              <a:gd name="T15" fmla="*/ 1181 h 1229"/>
              <a:gd name="T16" fmla="*/ 703 w 1238"/>
              <a:gd name="T17" fmla="*/ 1229 h 1229"/>
              <a:gd name="T18" fmla="*/ 0 w 1238"/>
              <a:gd name="T19" fmla="*/ 0 h 1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38" h="1229">
                <a:moveTo>
                  <a:pt x="0" y="0"/>
                </a:moveTo>
                <a:lnTo>
                  <a:pt x="1238" y="0"/>
                </a:lnTo>
                <a:lnTo>
                  <a:pt x="1238" y="1088"/>
                </a:lnTo>
                <a:lnTo>
                  <a:pt x="1238" y="1088"/>
                </a:lnTo>
                <a:lnTo>
                  <a:pt x="1121" y="1095"/>
                </a:lnTo>
                <a:lnTo>
                  <a:pt x="1012" y="1113"/>
                </a:lnTo>
                <a:lnTo>
                  <a:pt x="903" y="1141"/>
                </a:lnTo>
                <a:lnTo>
                  <a:pt x="801" y="1181"/>
                </a:lnTo>
                <a:lnTo>
                  <a:pt x="703" y="1229"/>
                </a:lnTo>
                <a:lnTo>
                  <a:pt x="0" y="0"/>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49" name="Freeform 47"/>
          <p:cNvSpPr>
            <a:spLocks/>
          </p:cNvSpPr>
          <p:nvPr/>
        </p:nvSpPr>
        <p:spPr bwMode="auto">
          <a:xfrm>
            <a:off x="1589" y="3436144"/>
            <a:ext cx="4602235" cy="3437733"/>
          </a:xfrm>
          <a:custGeom>
            <a:avLst/>
            <a:gdLst>
              <a:gd name="T0" fmla="*/ 0 w 2893"/>
              <a:gd name="T1" fmla="*/ 0 h 2163"/>
              <a:gd name="T2" fmla="*/ 2753 w 2893"/>
              <a:gd name="T3" fmla="*/ 0 h 2163"/>
              <a:gd name="T4" fmla="*/ 2760 w 2893"/>
              <a:gd name="T5" fmla="*/ 114 h 2163"/>
              <a:gd name="T6" fmla="*/ 2777 w 2893"/>
              <a:gd name="T7" fmla="*/ 225 h 2163"/>
              <a:gd name="T8" fmla="*/ 2805 w 2893"/>
              <a:gd name="T9" fmla="*/ 330 h 2163"/>
              <a:gd name="T10" fmla="*/ 2844 w 2893"/>
              <a:gd name="T11" fmla="*/ 432 h 2163"/>
              <a:gd name="T12" fmla="*/ 2893 w 2893"/>
              <a:gd name="T13" fmla="*/ 529 h 2163"/>
              <a:gd name="T14" fmla="*/ 0 w 2893"/>
              <a:gd name="T15" fmla="*/ 2163 h 2163"/>
              <a:gd name="T16" fmla="*/ 0 w 2893"/>
              <a:gd name="T17" fmla="*/ 0 h 2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3" h="2163">
                <a:moveTo>
                  <a:pt x="0" y="0"/>
                </a:moveTo>
                <a:lnTo>
                  <a:pt x="2753" y="0"/>
                </a:lnTo>
                <a:lnTo>
                  <a:pt x="2760" y="114"/>
                </a:lnTo>
                <a:lnTo>
                  <a:pt x="2777" y="225"/>
                </a:lnTo>
                <a:lnTo>
                  <a:pt x="2805" y="330"/>
                </a:lnTo>
                <a:lnTo>
                  <a:pt x="2844" y="432"/>
                </a:lnTo>
                <a:lnTo>
                  <a:pt x="2893" y="529"/>
                </a:lnTo>
                <a:lnTo>
                  <a:pt x="0" y="2163"/>
                </a:lnTo>
                <a:lnTo>
                  <a:pt x="0" y="0"/>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0" name="Freeform 48"/>
          <p:cNvSpPr>
            <a:spLocks/>
          </p:cNvSpPr>
          <p:nvPr/>
        </p:nvSpPr>
        <p:spPr bwMode="auto">
          <a:xfrm>
            <a:off x="0" y="0"/>
            <a:ext cx="4602235" cy="3432964"/>
          </a:xfrm>
          <a:custGeom>
            <a:avLst/>
            <a:gdLst>
              <a:gd name="T0" fmla="*/ 0 w 2893"/>
              <a:gd name="T1" fmla="*/ 0 h 2160"/>
              <a:gd name="T2" fmla="*/ 2893 w 2893"/>
              <a:gd name="T3" fmla="*/ 1634 h 2160"/>
              <a:gd name="T4" fmla="*/ 2844 w 2893"/>
              <a:gd name="T5" fmla="*/ 1729 h 2160"/>
              <a:gd name="T6" fmla="*/ 2805 w 2893"/>
              <a:gd name="T7" fmla="*/ 1831 h 2160"/>
              <a:gd name="T8" fmla="*/ 2777 w 2893"/>
              <a:gd name="T9" fmla="*/ 1938 h 2160"/>
              <a:gd name="T10" fmla="*/ 2760 w 2893"/>
              <a:gd name="T11" fmla="*/ 2047 h 2160"/>
              <a:gd name="T12" fmla="*/ 2753 w 2893"/>
              <a:gd name="T13" fmla="*/ 2160 h 2160"/>
              <a:gd name="T14" fmla="*/ 0 w 2893"/>
              <a:gd name="T15" fmla="*/ 2160 h 2160"/>
              <a:gd name="T16" fmla="*/ 0 w 2893"/>
              <a:gd name="T17" fmla="*/ 0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3" h="2160">
                <a:moveTo>
                  <a:pt x="0" y="0"/>
                </a:moveTo>
                <a:lnTo>
                  <a:pt x="2893" y="1634"/>
                </a:lnTo>
                <a:lnTo>
                  <a:pt x="2844" y="1729"/>
                </a:lnTo>
                <a:lnTo>
                  <a:pt x="2805" y="1831"/>
                </a:lnTo>
                <a:lnTo>
                  <a:pt x="2777" y="1938"/>
                </a:lnTo>
                <a:lnTo>
                  <a:pt x="2760" y="2047"/>
                </a:lnTo>
                <a:lnTo>
                  <a:pt x="2753" y="2160"/>
                </a:lnTo>
                <a:lnTo>
                  <a:pt x="0" y="2160"/>
                </a:lnTo>
                <a:lnTo>
                  <a:pt x="0" y="0"/>
                </a:lnTo>
                <a:close/>
              </a:path>
            </a:pathLst>
          </a:custGeom>
          <a:solidFill>
            <a:schemeClr val="accent2"/>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1" name="Freeform 49"/>
          <p:cNvSpPr>
            <a:spLocks/>
          </p:cNvSpPr>
          <p:nvPr/>
        </p:nvSpPr>
        <p:spPr bwMode="auto">
          <a:xfrm>
            <a:off x="1588" y="1"/>
            <a:ext cx="5240152" cy="2600153"/>
          </a:xfrm>
          <a:custGeom>
            <a:avLst/>
            <a:gdLst>
              <a:gd name="T0" fmla="*/ 0 w 3294"/>
              <a:gd name="T1" fmla="*/ 0 h 1636"/>
              <a:gd name="T2" fmla="*/ 2591 w 3294"/>
              <a:gd name="T3" fmla="*/ 0 h 1636"/>
              <a:gd name="T4" fmla="*/ 3294 w 3294"/>
              <a:gd name="T5" fmla="*/ 1229 h 1636"/>
              <a:gd name="T6" fmla="*/ 3197 w 3294"/>
              <a:gd name="T7" fmla="*/ 1292 h 1636"/>
              <a:gd name="T8" fmla="*/ 3109 w 3294"/>
              <a:gd name="T9" fmla="*/ 1366 h 1636"/>
              <a:gd name="T10" fmla="*/ 3027 w 3294"/>
              <a:gd name="T11" fmla="*/ 1448 h 1636"/>
              <a:gd name="T12" fmla="*/ 2955 w 3294"/>
              <a:gd name="T13" fmla="*/ 1538 h 1636"/>
              <a:gd name="T14" fmla="*/ 2893 w 3294"/>
              <a:gd name="T15" fmla="*/ 1636 h 1636"/>
              <a:gd name="T16" fmla="*/ 0 w 3294"/>
              <a:gd name="T17" fmla="*/ 2 h 1636"/>
              <a:gd name="T18" fmla="*/ 0 w 3294"/>
              <a:gd name="T19" fmla="*/ 0 h 1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94" h="1636">
                <a:moveTo>
                  <a:pt x="0" y="0"/>
                </a:moveTo>
                <a:lnTo>
                  <a:pt x="2591" y="0"/>
                </a:lnTo>
                <a:lnTo>
                  <a:pt x="3294" y="1229"/>
                </a:lnTo>
                <a:lnTo>
                  <a:pt x="3197" y="1292"/>
                </a:lnTo>
                <a:lnTo>
                  <a:pt x="3109" y="1366"/>
                </a:lnTo>
                <a:lnTo>
                  <a:pt x="3027" y="1448"/>
                </a:lnTo>
                <a:lnTo>
                  <a:pt x="2955" y="1538"/>
                </a:lnTo>
                <a:lnTo>
                  <a:pt x="2893" y="1636"/>
                </a:lnTo>
                <a:lnTo>
                  <a:pt x="0" y="2"/>
                </a:lnTo>
                <a:lnTo>
                  <a:pt x="0" y="0"/>
                </a:lnTo>
                <a:close/>
              </a:path>
            </a:pathLst>
          </a:custGeom>
          <a:solidFill>
            <a:schemeClr val="accent3"/>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3" name="Freeform 51"/>
          <p:cNvSpPr>
            <a:spLocks/>
          </p:cNvSpPr>
          <p:nvPr/>
        </p:nvSpPr>
        <p:spPr bwMode="auto">
          <a:xfrm>
            <a:off x="6092828" y="0"/>
            <a:ext cx="2004430" cy="1961240"/>
          </a:xfrm>
          <a:custGeom>
            <a:avLst/>
            <a:gdLst>
              <a:gd name="T0" fmla="*/ 0 w 1260"/>
              <a:gd name="T1" fmla="*/ 0 h 1234"/>
              <a:gd name="T2" fmla="*/ 1260 w 1260"/>
              <a:gd name="T3" fmla="*/ 0 h 1234"/>
              <a:gd name="T4" fmla="*/ 541 w 1260"/>
              <a:gd name="T5" fmla="*/ 1234 h 1234"/>
              <a:gd name="T6" fmla="*/ 443 w 1260"/>
              <a:gd name="T7" fmla="*/ 1183 h 1234"/>
              <a:gd name="T8" fmla="*/ 339 w 1260"/>
              <a:gd name="T9" fmla="*/ 1144 h 1234"/>
              <a:gd name="T10" fmla="*/ 229 w 1260"/>
              <a:gd name="T11" fmla="*/ 1113 h 1234"/>
              <a:gd name="T12" fmla="*/ 116 w 1260"/>
              <a:gd name="T13" fmla="*/ 1095 h 1234"/>
              <a:gd name="T14" fmla="*/ 0 w 1260"/>
              <a:gd name="T15" fmla="*/ 1088 h 1234"/>
              <a:gd name="T16" fmla="*/ 0 w 1260"/>
              <a:gd name="T17"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0" h="1234">
                <a:moveTo>
                  <a:pt x="0" y="0"/>
                </a:moveTo>
                <a:lnTo>
                  <a:pt x="1260" y="0"/>
                </a:lnTo>
                <a:lnTo>
                  <a:pt x="541" y="1234"/>
                </a:lnTo>
                <a:lnTo>
                  <a:pt x="443" y="1183"/>
                </a:lnTo>
                <a:lnTo>
                  <a:pt x="339" y="1144"/>
                </a:lnTo>
                <a:lnTo>
                  <a:pt x="229" y="1113"/>
                </a:lnTo>
                <a:lnTo>
                  <a:pt x="116" y="1095"/>
                </a:lnTo>
                <a:lnTo>
                  <a:pt x="0" y="1088"/>
                </a:lnTo>
                <a:lnTo>
                  <a:pt x="0" y="0"/>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4" name="Freeform 52"/>
          <p:cNvSpPr>
            <a:spLocks/>
          </p:cNvSpPr>
          <p:nvPr/>
        </p:nvSpPr>
        <p:spPr bwMode="auto">
          <a:xfrm>
            <a:off x="1589" y="4276901"/>
            <a:ext cx="5230607" cy="2596974"/>
          </a:xfrm>
          <a:custGeom>
            <a:avLst/>
            <a:gdLst>
              <a:gd name="T0" fmla="*/ 2893 w 3288"/>
              <a:gd name="T1" fmla="*/ 0 h 1634"/>
              <a:gd name="T2" fmla="*/ 2953 w 3288"/>
              <a:gd name="T3" fmla="*/ 96 h 1634"/>
              <a:gd name="T4" fmla="*/ 3025 w 3288"/>
              <a:gd name="T5" fmla="*/ 184 h 1634"/>
              <a:gd name="T6" fmla="*/ 3104 w 3288"/>
              <a:gd name="T7" fmla="*/ 265 h 1634"/>
              <a:gd name="T8" fmla="*/ 3192 w 3288"/>
              <a:gd name="T9" fmla="*/ 337 h 1634"/>
              <a:gd name="T10" fmla="*/ 3288 w 3288"/>
              <a:gd name="T11" fmla="*/ 400 h 1634"/>
              <a:gd name="T12" fmla="*/ 2568 w 3288"/>
              <a:gd name="T13" fmla="*/ 1634 h 1634"/>
              <a:gd name="T14" fmla="*/ 0 w 3288"/>
              <a:gd name="T15" fmla="*/ 1634 h 1634"/>
              <a:gd name="T16" fmla="*/ 0 w 3288"/>
              <a:gd name="T17" fmla="*/ 1634 h 1634"/>
              <a:gd name="T18" fmla="*/ 2893 w 3288"/>
              <a:gd name="T19" fmla="*/ 0 h 1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88" h="1634">
                <a:moveTo>
                  <a:pt x="2893" y="0"/>
                </a:moveTo>
                <a:lnTo>
                  <a:pt x="2953" y="96"/>
                </a:lnTo>
                <a:lnTo>
                  <a:pt x="3025" y="184"/>
                </a:lnTo>
                <a:lnTo>
                  <a:pt x="3104" y="265"/>
                </a:lnTo>
                <a:lnTo>
                  <a:pt x="3192" y="337"/>
                </a:lnTo>
                <a:lnTo>
                  <a:pt x="3288" y="400"/>
                </a:lnTo>
                <a:lnTo>
                  <a:pt x="2568" y="1634"/>
                </a:lnTo>
                <a:lnTo>
                  <a:pt x="0" y="1634"/>
                </a:lnTo>
                <a:lnTo>
                  <a:pt x="0" y="1634"/>
                </a:lnTo>
                <a:lnTo>
                  <a:pt x="2893" y="0"/>
                </a:lnTo>
                <a:close/>
              </a:path>
            </a:pathLst>
          </a:custGeom>
          <a:solidFill>
            <a:schemeClr val="accent2"/>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5" name="Freeform 53"/>
          <p:cNvSpPr>
            <a:spLocks/>
          </p:cNvSpPr>
          <p:nvPr/>
        </p:nvSpPr>
        <p:spPr bwMode="auto">
          <a:xfrm>
            <a:off x="7589765" y="0"/>
            <a:ext cx="4602235" cy="3436143"/>
          </a:xfrm>
          <a:custGeom>
            <a:avLst/>
            <a:gdLst>
              <a:gd name="T0" fmla="*/ 2893 w 2893"/>
              <a:gd name="T1" fmla="*/ 0 h 2162"/>
              <a:gd name="T2" fmla="*/ 2893 w 2893"/>
              <a:gd name="T3" fmla="*/ 2162 h 2162"/>
              <a:gd name="T4" fmla="*/ 140 w 2893"/>
              <a:gd name="T5" fmla="*/ 2162 h 2162"/>
              <a:gd name="T6" fmla="*/ 133 w 2893"/>
              <a:gd name="T7" fmla="*/ 2049 h 2162"/>
              <a:gd name="T8" fmla="*/ 116 w 2893"/>
              <a:gd name="T9" fmla="*/ 1940 h 2162"/>
              <a:gd name="T10" fmla="*/ 86 w 2893"/>
              <a:gd name="T11" fmla="*/ 1833 h 2162"/>
              <a:gd name="T12" fmla="*/ 49 w 2893"/>
              <a:gd name="T13" fmla="*/ 1731 h 2162"/>
              <a:gd name="T14" fmla="*/ 0 w 2893"/>
              <a:gd name="T15" fmla="*/ 1633 h 2162"/>
              <a:gd name="T16" fmla="*/ 2893 w 2893"/>
              <a:gd name="T17" fmla="*/ 0 h 2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3" h="2162">
                <a:moveTo>
                  <a:pt x="2893" y="0"/>
                </a:moveTo>
                <a:lnTo>
                  <a:pt x="2893" y="2162"/>
                </a:lnTo>
                <a:lnTo>
                  <a:pt x="140" y="2162"/>
                </a:lnTo>
                <a:lnTo>
                  <a:pt x="133" y="2049"/>
                </a:lnTo>
                <a:lnTo>
                  <a:pt x="116" y="1940"/>
                </a:lnTo>
                <a:lnTo>
                  <a:pt x="86" y="1833"/>
                </a:lnTo>
                <a:lnTo>
                  <a:pt x="49" y="1731"/>
                </a:lnTo>
                <a:lnTo>
                  <a:pt x="0" y="1633"/>
                </a:lnTo>
                <a:lnTo>
                  <a:pt x="2893" y="0"/>
                </a:lnTo>
                <a:close/>
              </a:path>
            </a:pathLst>
          </a:custGeom>
          <a:solidFill>
            <a:schemeClr val="accent2"/>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6" name="Freeform 54"/>
          <p:cNvSpPr>
            <a:spLocks/>
          </p:cNvSpPr>
          <p:nvPr/>
        </p:nvSpPr>
        <p:spPr bwMode="auto">
          <a:xfrm>
            <a:off x="6942324" y="4276901"/>
            <a:ext cx="5240152" cy="2596974"/>
          </a:xfrm>
          <a:custGeom>
            <a:avLst/>
            <a:gdLst>
              <a:gd name="T0" fmla="*/ 401 w 3294"/>
              <a:gd name="T1" fmla="*/ 0 h 1634"/>
              <a:gd name="T2" fmla="*/ 3294 w 3294"/>
              <a:gd name="T3" fmla="*/ 1632 h 1634"/>
              <a:gd name="T4" fmla="*/ 3294 w 3294"/>
              <a:gd name="T5" fmla="*/ 1634 h 1634"/>
              <a:gd name="T6" fmla="*/ 703 w 3294"/>
              <a:gd name="T7" fmla="*/ 1634 h 1634"/>
              <a:gd name="T8" fmla="*/ 0 w 3294"/>
              <a:gd name="T9" fmla="*/ 404 h 1634"/>
              <a:gd name="T10" fmla="*/ 97 w 3294"/>
              <a:gd name="T11" fmla="*/ 341 h 1634"/>
              <a:gd name="T12" fmla="*/ 185 w 3294"/>
              <a:gd name="T13" fmla="*/ 270 h 1634"/>
              <a:gd name="T14" fmla="*/ 267 w 3294"/>
              <a:gd name="T15" fmla="*/ 186 h 1634"/>
              <a:gd name="T16" fmla="*/ 339 w 3294"/>
              <a:gd name="T17" fmla="*/ 98 h 1634"/>
              <a:gd name="T18" fmla="*/ 401 w 3294"/>
              <a:gd name="T19" fmla="*/ 0 h 1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94" h="1634">
                <a:moveTo>
                  <a:pt x="401" y="0"/>
                </a:moveTo>
                <a:lnTo>
                  <a:pt x="3294" y="1632"/>
                </a:lnTo>
                <a:lnTo>
                  <a:pt x="3294" y="1634"/>
                </a:lnTo>
                <a:lnTo>
                  <a:pt x="703" y="1634"/>
                </a:lnTo>
                <a:lnTo>
                  <a:pt x="0" y="404"/>
                </a:lnTo>
                <a:lnTo>
                  <a:pt x="97" y="341"/>
                </a:lnTo>
                <a:lnTo>
                  <a:pt x="185" y="270"/>
                </a:lnTo>
                <a:lnTo>
                  <a:pt x="267" y="186"/>
                </a:lnTo>
                <a:lnTo>
                  <a:pt x="339" y="98"/>
                </a:lnTo>
                <a:lnTo>
                  <a:pt x="401" y="0"/>
                </a:lnTo>
                <a:close/>
              </a:path>
            </a:pathLst>
          </a:custGeom>
          <a:solidFill>
            <a:schemeClr val="accent2"/>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7" name="Freeform 55"/>
          <p:cNvSpPr>
            <a:spLocks/>
          </p:cNvSpPr>
          <p:nvPr/>
        </p:nvSpPr>
        <p:spPr bwMode="auto">
          <a:xfrm>
            <a:off x="7580242" y="3436143"/>
            <a:ext cx="4602235" cy="3434554"/>
          </a:xfrm>
          <a:custGeom>
            <a:avLst/>
            <a:gdLst>
              <a:gd name="T0" fmla="*/ 140 w 2893"/>
              <a:gd name="T1" fmla="*/ 0 h 2161"/>
              <a:gd name="T2" fmla="*/ 2893 w 2893"/>
              <a:gd name="T3" fmla="*/ 0 h 2161"/>
              <a:gd name="T4" fmla="*/ 2893 w 2893"/>
              <a:gd name="T5" fmla="*/ 2161 h 2161"/>
              <a:gd name="T6" fmla="*/ 0 w 2893"/>
              <a:gd name="T7" fmla="*/ 529 h 2161"/>
              <a:gd name="T8" fmla="*/ 49 w 2893"/>
              <a:gd name="T9" fmla="*/ 432 h 2161"/>
              <a:gd name="T10" fmla="*/ 86 w 2893"/>
              <a:gd name="T11" fmla="*/ 330 h 2161"/>
              <a:gd name="T12" fmla="*/ 116 w 2893"/>
              <a:gd name="T13" fmla="*/ 225 h 2161"/>
              <a:gd name="T14" fmla="*/ 133 w 2893"/>
              <a:gd name="T15" fmla="*/ 114 h 2161"/>
              <a:gd name="T16" fmla="*/ 140 w 2893"/>
              <a:gd name="T17" fmla="*/ 0 h 2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3" h="2161">
                <a:moveTo>
                  <a:pt x="140" y="0"/>
                </a:moveTo>
                <a:lnTo>
                  <a:pt x="2893" y="0"/>
                </a:lnTo>
                <a:lnTo>
                  <a:pt x="2893" y="2161"/>
                </a:lnTo>
                <a:lnTo>
                  <a:pt x="0" y="529"/>
                </a:lnTo>
                <a:lnTo>
                  <a:pt x="49" y="432"/>
                </a:lnTo>
                <a:lnTo>
                  <a:pt x="86" y="330"/>
                </a:lnTo>
                <a:lnTo>
                  <a:pt x="116" y="225"/>
                </a:lnTo>
                <a:lnTo>
                  <a:pt x="133" y="114"/>
                </a:lnTo>
                <a:lnTo>
                  <a:pt x="140" y="0"/>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8" name="Freeform 56"/>
          <p:cNvSpPr>
            <a:spLocks/>
          </p:cNvSpPr>
          <p:nvPr/>
        </p:nvSpPr>
        <p:spPr bwMode="auto">
          <a:xfrm>
            <a:off x="6092829" y="4918993"/>
            <a:ext cx="1967841" cy="1954883"/>
          </a:xfrm>
          <a:custGeom>
            <a:avLst/>
            <a:gdLst>
              <a:gd name="T0" fmla="*/ 534 w 1237"/>
              <a:gd name="T1" fmla="*/ 0 h 1230"/>
              <a:gd name="T2" fmla="*/ 1237 w 1237"/>
              <a:gd name="T3" fmla="*/ 1230 h 1230"/>
              <a:gd name="T4" fmla="*/ 0 w 1237"/>
              <a:gd name="T5" fmla="*/ 1230 h 1230"/>
              <a:gd name="T6" fmla="*/ 0 w 1237"/>
              <a:gd name="T7" fmla="*/ 142 h 1230"/>
              <a:gd name="T8" fmla="*/ 113 w 1237"/>
              <a:gd name="T9" fmla="*/ 135 h 1230"/>
              <a:gd name="T10" fmla="*/ 225 w 1237"/>
              <a:gd name="T11" fmla="*/ 118 h 1230"/>
              <a:gd name="T12" fmla="*/ 334 w 1237"/>
              <a:gd name="T13" fmla="*/ 88 h 1230"/>
              <a:gd name="T14" fmla="*/ 436 w 1237"/>
              <a:gd name="T15" fmla="*/ 49 h 1230"/>
              <a:gd name="T16" fmla="*/ 534 w 1237"/>
              <a:gd name="T17" fmla="*/ 0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7" h="1230">
                <a:moveTo>
                  <a:pt x="534" y="0"/>
                </a:moveTo>
                <a:lnTo>
                  <a:pt x="1237" y="1230"/>
                </a:lnTo>
                <a:lnTo>
                  <a:pt x="0" y="1230"/>
                </a:lnTo>
                <a:lnTo>
                  <a:pt x="0" y="142"/>
                </a:lnTo>
                <a:lnTo>
                  <a:pt x="113" y="135"/>
                </a:lnTo>
                <a:lnTo>
                  <a:pt x="225" y="118"/>
                </a:lnTo>
                <a:lnTo>
                  <a:pt x="334" y="88"/>
                </a:lnTo>
                <a:lnTo>
                  <a:pt x="436" y="49"/>
                </a:lnTo>
                <a:lnTo>
                  <a:pt x="534" y="0"/>
                </a:lnTo>
                <a:close/>
              </a:path>
            </a:pathLst>
          </a:custGeom>
          <a:solidFill>
            <a:schemeClr val="accent3"/>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9" name="Freeform 57"/>
          <p:cNvSpPr>
            <a:spLocks/>
          </p:cNvSpPr>
          <p:nvPr/>
        </p:nvSpPr>
        <p:spPr bwMode="auto">
          <a:xfrm>
            <a:off x="4086808" y="4912635"/>
            <a:ext cx="2006021" cy="1961240"/>
          </a:xfrm>
          <a:custGeom>
            <a:avLst/>
            <a:gdLst>
              <a:gd name="T0" fmla="*/ 720 w 1261"/>
              <a:gd name="T1" fmla="*/ 0 h 1234"/>
              <a:gd name="T2" fmla="*/ 817 w 1261"/>
              <a:gd name="T3" fmla="*/ 51 h 1234"/>
              <a:gd name="T4" fmla="*/ 922 w 1261"/>
              <a:gd name="T5" fmla="*/ 90 h 1234"/>
              <a:gd name="T6" fmla="*/ 1031 w 1261"/>
              <a:gd name="T7" fmla="*/ 120 h 1234"/>
              <a:gd name="T8" fmla="*/ 1144 w 1261"/>
              <a:gd name="T9" fmla="*/ 139 h 1234"/>
              <a:gd name="T10" fmla="*/ 1261 w 1261"/>
              <a:gd name="T11" fmla="*/ 146 h 1234"/>
              <a:gd name="T12" fmla="*/ 1261 w 1261"/>
              <a:gd name="T13" fmla="*/ 146 h 1234"/>
              <a:gd name="T14" fmla="*/ 1261 w 1261"/>
              <a:gd name="T15" fmla="*/ 1234 h 1234"/>
              <a:gd name="T16" fmla="*/ 0 w 1261"/>
              <a:gd name="T17" fmla="*/ 1234 h 1234"/>
              <a:gd name="T18" fmla="*/ 720 w 1261"/>
              <a:gd name="T19"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1" h="1234">
                <a:moveTo>
                  <a:pt x="720" y="0"/>
                </a:moveTo>
                <a:lnTo>
                  <a:pt x="817" y="51"/>
                </a:lnTo>
                <a:lnTo>
                  <a:pt x="922" y="90"/>
                </a:lnTo>
                <a:lnTo>
                  <a:pt x="1031" y="120"/>
                </a:lnTo>
                <a:lnTo>
                  <a:pt x="1144" y="139"/>
                </a:lnTo>
                <a:lnTo>
                  <a:pt x="1261" y="146"/>
                </a:lnTo>
                <a:lnTo>
                  <a:pt x="1261" y="146"/>
                </a:lnTo>
                <a:lnTo>
                  <a:pt x="1261" y="1234"/>
                </a:lnTo>
                <a:lnTo>
                  <a:pt x="0" y="1234"/>
                </a:lnTo>
                <a:lnTo>
                  <a:pt x="720" y="0"/>
                </a:lnTo>
                <a:close/>
              </a:path>
            </a:pathLst>
          </a:custGeom>
          <a:solidFill>
            <a:schemeClr val="accent3"/>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83" name="TextBox 82"/>
          <p:cNvSpPr txBox="1"/>
          <p:nvPr/>
        </p:nvSpPr>
        <p:spPr>
          <a:xfrm>
            <a:off x="7981138" y="459917"/>
            <a:ext cx="2597962" cy="784830"/>
          </a:xfrm>
          <a:prstGeom prst="rect">
            <a:avLst/>
          </a:prstGeom>
          <a:noFill/>
        </p:spPr>
        <p:txBody>
          <a:bodyPr wrap="square" rtlCol="0">
            <a:sp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KPI’s</a:t>
            </a:r>
          </a:p>
          <a:p>
            <a:pPr marL="0" marR="0" lvl="0" indent="0" algn="l" defTabSz="1218987"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Performance indicator, a quantifiable measure of performance over time versus a specific objective. </a:t>
            </a:r>
            <a:endParaRPr kumimoji="0" lang="en-US"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86" name="TextBox 85"/>
          <p:cNvSpPr txBox="1"/>
          <p:nvPr/>
        </p:nvSpPr>
        <p:spPr>
          <a:xfrm>
            <a:off x="9033933" y="1927613"/>
            <a:ext cx="2980265"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Poppins" panose="00000500000000000000" pitchFamily="2" charset="0"/>
                <a:ea typeface="Lato light" panose="020F0502020204030203" pitchFamily="34" charset="0"/>
                <a:cs typeface="Poppins" panose="00000500000000000000" pitchFamily="2" charset="0"/>
              </a:rPr>
              <a:t>Strategic </a:t>
            </a:r>
            <a:r>
              <a:rPr kumimoji="0" lang="en-GB" sz="1200" b="1" i="0" u="none" strike="noStrike" kern="1200" cap="none" spc="0" normalizeH="0" baseline="0" noProof="0" dirty="0">
                <a:ln>
                  <a:noFill/>
                </a:ln>
                <a:solidFill>
                  <a:prstClr val="white"/>
                </a:solidFill>
                <a:effectLst/>
                <a:uLnTx/>
                <a:uFillTx/>
                <a:latin typeface="Poppins" panose="00000500000000000000" pitchFamily="2" charset="0"/>
                <a:ea typeface="Lato light" panose="020F0502020204030203" pitchFamily="34" charset="0"/>
                <a:cs typeface="Poppins" panose="00000500000000000000" pitchFamily="2" charset="0"/>
                <a:hlinkClick r:id="rId2" action="ppaction://hlinkfile">
                  <a:extLst>
                    <a:ext uri="{A12FA001-AC4F-418D-AE19-62706E023703}">
                      <ahyp:hlinkClr xmlns:ahyp="http://schemas.microsoft.com/office/drawing/2018/hyperlinkcolor" val="tx"/>
                    </a:ext>
                  </a:extLst>
                </a:hlinkClick>
              </a:rPr>
              <a:t>tools</a:t>
            </a:r>
            <a:r>
              <a:rPr kumimoji="0" lang="en-GB" sz="1200" b="1" i="0" u="none" strike="noStrike" kern="1200" cap="none" spc="0" normalizeH="0" baseline="0" noProof="0" dirty="0">
                <a:ln>
                  <a:noFill/>
                </a:ln>
                <a:solidFill>
                  <a:prstClr val="white"/>
                </a:solidFill>
                <a:effectLst/>
                <a:uLnTx/>
                <a:uFillTx/>
                <a:latin typeface="Poppins" panose="00000500000000000000" pitchFamily="2" charset="0"/>
                <a:ea typeface="Lato light" panose="020F0502020204030203" pitchFamily="34" charset="0"/>
                <a:cs typeface="Poppins" panose="00000500000000000000"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prstClr val="white"/>
              </a:solidFill>
              <a:effectLst/>
              <a:uLnTx/>
              <a:uFillTx/>
              <a:latin typeface="Poppins" panose="00000500000000000000" pitchFamily="2" charset="0"/>
              <a:ea typeface="Lato light" panose="020F0502020204030203" pitchFamily="34" charset="0"/>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These tools are  recognised the world over in business schools, consulting firms and companies who plan strategically.</a:t>
            </a: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Lato light" panose="020F0502020204030203" pitchFamily="34" charset="0"/>
                <a:cs typeface="Arial" panose="020B0604020202020204" pitchFamily="34" charset="0"/>
              </a:rPr>
              <a:t>  </a:t>
            </a:r>
            <a:endPar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89" name="TextBox 88"/>
          <p:cNvSpPr txBox="1"/>
          <p:nvPr/>
        </p:nvSpPr>
        <p:spPr>
          <a:xfrm>
            <a:off x="9144000" y="3826646"/>
            <a:ext cx="2921000" cy="1200329"/>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Scorecards </a:t>
            </a:r>
          </a:p>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Designed as functional </a:t>
            </a: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or subject </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indicators across </a:t>
            </a: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a </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variety off situation</a:t>
            </a: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s</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 to enable performance o</a:t>
            </a: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f</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 situational evaluation versus </a:t>
            </a: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aligned </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standards.</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5" name="TextBox 94"/>
          <p:cNvSpPr txBox="1"/>
          <p:nvPr/>
        </p:nvSpPr>
        <p:spPr>
          <a:xfrm>
            <a:off x="7806267" y="5371356"/>
            <a:ext cx="2887133" cy="1200329"/>
          </a:xfrm>
          <a:prstGeom prst="rect">
            <a:avLst/>
          </a:prstGeom>
          <a:noFill/>
        </p:spPr>
        <p:txBody>
          <a:bodyPr wrap="square" rtlCol="0">
            <a:sp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Assessments</a:t>
            </a:r>
          </a:p>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121898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Assessments </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are designed around specific areas to conduct reviews  and</a:t>
            </a: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 </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will center around a benchmark reviewing individuals or functions</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8" name="TextBox 97"/>
          <p:cNvSpPr txBox="1"/>
          <p:nvPr/>
        </p:nvSpPr>
        <p:spPr>
          <a:xfrm>
            <a:off x="4559300" y="5782503"/>
            <a:ext cx="1612901" cy="96949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66D7F"/>
                </a:solidFill>
                <a:effectLst/>
                <a:uLnTx/>
                <a:uFillTx/>
                <a:latin typeface="Poppins" panose="00000500000000000000" pitchFamily="2" charset="0"/>
                <a:ea typeface="Lato light" panose="020F0502020204030203" pitchFamily="34" charset="0"/>
                <a:cs typeface="Poppins" panose="00000500000000000000" pitchFamily="2" charset="0"/>
              </a:rPr>
              <a:t>    </a:t>
            </a: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Checklis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Designed around achieving milestones in a sequential manner.</a:t>
            </a:r>
            <a:endParaRPr kumimoji="0" lang="en-GB"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01" name="TextBox 100"/>
          <p:cNvSpPr txBox="1"/>
          <p:nvPr/>
        </p:nvSpPr>
        <p:spPr>
          <a:xfrm>
            <a:off x="1574799" y="5464198"/>
            <a:ext cx="2709333" cy="1015663"/>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Calculators </a:t>
            </a:r>
          </a:p>
          <a:p>
            <a:pPr marL="0" marR="0" lvl="0" indent="0" algn="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r" defTabSz="121898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calculate the right ratios for businesses looking for benchmarks in a variety of situations</a:t>
            </a:r>
            <a:endPar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04" name="TextBox 103"/>
          <p:cNvSpPr txBox="1"/>
          <p:nvPr/>
        </p:nvSpPr>
        <p:spPr>
          <a:xfrm>
            <a:off x="271422" y="3850604"/>
            <a:ext cx="3089844" cy="1015663"/>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Analytical </a:t>
            </a:r>
            <a:r>
              <a:rPr kumimoji="0" lang="en-US" sz="1200" b="1" i="0" u="sng"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Tools </a:t>
            </a:r>
          </a:p>
          <a:p>
            <a:pPr marL="0" marR="0" lvl="0" indent="0" algn="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121898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Interactive excel tools on specific business areas based on your data inputs delivered in a workbook model with instructions.</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7" name="TextBox 106"/>
          <p:cNvSpPr txBox="1"/>
          <p:nvPr/>
        </p:nvSpPr>
        <p:spPr>
          <a:xfrm>
            <a:off x="2058535" y="500688"/>
            <a:ext cx="2504997" cy="800219"/>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Templates</a:t>
            </a:r>
          </a:p>
          <a:p>
            <a:pPr marL="0" marR="0" lvl="0" indent="0" algn="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r" defTabSz="1218987"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Templates are designed based gather information in a structured manner </a:t>
            </a:r>
            <a:endParaRPr kumimoji="0" lang="en-US"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10" name="TextBox 109"/>
          <p:cNvSpPr txBox="1"/>
          <p:nvPr/>
        </p:nvSpPr>
        <p:spPr>
          <a:xfrm>
            <a:off x="161693" y="1966208"/>
            <a:ext cx="2755073" cy="96949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Poppins" panose="00000500000000000000" pitchFamily="2" charset="0"/>
                <a:ea typeface="Lato light" panose="020F0502020204030203" pitchFamily="34" charset="0"/>
                <a:cs typeface="Poppins" panose="00000500000000000000" pitchFamily="2" charset="0"/>
              </a:rPr>
              <a:t>Content </a:t>
            </a:r>
            <a:r>
              <a:rPr kumimoji="0" lang="en-GB" sz="1200" b="1" i="0" u="sng" strike="noStrike" kern="1200" cap="none" spc="0" normalizeH="0" baseline="0" noProof="0" dirty="0">
                <a:ln>
                  <a:noFill/>
                </a:ln>
                <a:solidFill>
                  <a:prstClr val="white"/>
                </a:solidFill>
                <a:effectLst/>
                <a:uLnTx/>
                <a:uFillTx/>
                <a:latin typeface="Poppins" panose="00000500000000000000" pitchFamily="2" charset="0"/>
                <a:ea typeface="Lato light" panose="020F0502020204030203" pitchFamily="34" charset="0"/>
                <a:cs typeface="Poppins" panose="00000500000000000000" pitchFamily="2" charset="0"/>
              </a:rPr>
              <a:t>Modul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Best practice material in power point for use as a knowledge base in business training , planning and execution . </a:t>
            </a:r>
          </a:p>
        </p:txBody>
      </p:sp>
      <p:sp>
        <p:nvSpPr>
          <p:cNvPr id="113" name="TextBox 112"/>
          <p:cNvSpPr txBox="1"/>
          <p:nvPr/>
        </p:nvSpPr>
        <p:spPr>
          <a:xfrm>
            <a:off x="4521201" y="196208"/>
            <a:ext cx="1756832" cy="1138773"/>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Job </a:t>
            </a:r>
            <a:r>
              <a:rPr kumimoji="0" lang="en-US" sz="1200" b="1" i="0" u="sng"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Descriptions</a:t>
            </a:r>
          </a:p>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Develop roles clearly and completely  across varying levels of experience</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2" name="Group 1"/>
          <p:cNvGrpSpPr/>
          <p:nvPr/>
        </p:nvGrpSpPr>
        <p:grpSpPr>
          <a:xfrm>
            <a:off x="4095967" y="1429565"/>
            <a:ext cx="4011612" cy="4019514"/>
            <a:chOff x="4379520" y="1716091"/>
            <a:chExt cx="3421848" cy="3428588"/>
          </a:xfrm>
        </p:grpSpPr>
        <p:sp>
          <p:nvSpPr>
            <p:cNvPr id="60" name="Freeform 58"/>
            <p:cNvSpPr>
              <a:spLocks/>
            </p:cNvSpPr>
            <p:nvPr/>
          </p:nvSpPr>
          <p:spPr bwMode="auto">
            <a:xfrm>
              <a:off x="4379520" y="1729197"/>
              <a:ext cx="3421848" cy="3415482"/>
            </a:xfrm>
            <a:custGeom>
              <a:avLst/>
              <a:gdLst>
                <a:gd name="T0" fmla="*/ 1076 w 2151"/>
                <a:gd name="T1" fmla="*/ 0 h 2149"/>
                <a:gd name="T2" fmla="*/ 1076 w 2151"/>
                <a:gd name="T3" fmla="*/ 0 h 2149"/>
                <a:gd name="T4" fmla="*/ 1192 w 2151"/>
                <a:gd name="T5" fmla="*/ 7 h 2149"/>
                <a:gd name="T6" fmla="*/ 1305 w 2151"/>
                <a:gd name="T7" fmla="*/ 25 h 2149"/>
                <a:gd name="T8" fmla="*/ 1415 w 2151"/>
                <a:gd name="T9" fmla="*/ 56 h 2149"/>
                <a:gd name="T10" fmla="*/ 1519 w 2151"/>
                <a:gd name="T11" fmla="*/ 95 h 2149"/>
                <a:gd name="T12" fmla="*/ 1617 w 2151"/>
                <a:gd name="T13" fmla="*/ 146 h 2149"/>
                <a:gd name="T14" fmla="*/ 1712 w 2151"/>
                <a:gd name="T15" fmla="*/ 209 h 2149"/>
                <a:gd name="T16" fmla="*/ 1800 w 2151"/>
                <a:gd name="T17" fmla="*/ 281 h 2149"/>
                <a:gd name="T18" fmla="*/ 1879 w 2151"/>
                <a:gd name="T19" fmla="*/ 362 h 2149"/>
                <a:gd name="T20" fmla="*/ 1951 w 2151"/>
                <a:gd name="T21" fmla="*/ 450 h 2149"/>
                <a:gd name="T22" fmla="*/ 2011 w 2151"/>
                <a:gd name="T23" fmla="*/ 545 h 2149"/>
                <a:gd name="T24" fmla="*/ 2060 w 2151"/>
                <a:gd name="T25" fmla="*/ 643 h 2149"/>
                <a:gd name="T26" fmla="*/ 2097 w 2151"/>
                <a:gd name="T27" fmla="*/ 745 h 2149"/>
                <a:gd name="T28" fmla="*/ 2127 w 2151"/>
                <a:gd name="T29" fmla="*/ 852 h 2149"/>
                <a:gd name="T30" fmla="*/ 2144 w 2151"/>
                <a:gd name="T31" fmla="*/ 961 h 2149"/>
                <a:gd name="T32" fmla="*/ 2151 w 2151"/>
                <a:gd name="T33" fmla="*/ 1074 h 2149"/>
                <a:gd name="T34" fmla="*/ 2144 w 2151"/>
                <a:gd name="T35" fmla="*/ 1188 h 2149"/>
                <a:gd name="T36" fmla="*/ 2127 w 2151"/>
                <a:gd name="T37" fmla="*/ 1299 h 2149"/>
                <a:gd name="T38" fmla="*/ 2097 w 2151"/>
                <a:gd name="T39" fmla="*/ 1404 h 2149"/>
                <a:gd name="T40" fmla="*/ 2060 w 2151"/>
                <a:gd name="T41" fmla="*/ 1506 h 2149"/>
                <a:gd name="T42" fmla="*/ 2011 w 2151"/>
                <a:gd name="T43" fmla="*/ 1603 h 2149"/>
                <a:gd name="T44" fmla="*/ 1949 w 2151"/>
                <a:gd name="T45" fmla="*/ 1701 h 2149"/>
                <a:gd name="T46" fmla="*/ 1877 w 2151"/>
                <a:gd name="T47" fmla="*/ 1789 h 2149"/>
                <a:gd name="T48" fmla="*/ 1795 w 2151"/>
                <a:gd name="T49" fmla="*/ 1873 h 2149"/>
                <a:gd name="T50" fmla="*/ 1707 w 2151"/>
                <a:gd name="T51" fmla="*/ 1944 h 2149"/>
                <a:gd name="T52" fmla="*/ 1610 w 2151"/>
                <a:gd name="T53" fmla="*/ 2007 h 2149"/>
                <a:gd name="T54" fmla="*/ 1512 w 2151"/>
                <a:gd name="T55" fmla="*/ 2056 h 2149"/>
                <a:gd name="T56" fmla="*/ 1410 w 2151"/>
                <a:gd name="T57" fmla="*/ 2095 h 2149"/>
                <a:gd name="T58" fmla="*/ 1301 w 2151"/>
                <a:gd name="T59" fmla="*/ 2125 h 2149"/>
                <a:gd name="T60" fmla="*/ 1189 w 2151"/>
                <a:gd name="T61" fmla="*/ 2142 h 2149"/>
                <a:gd name="T62" fmla="*/ 1076 w 2151"/>
                <a:gd name="T63" fmla="*/ 2149 h 2149"/>
                <a:gd name="T64" fmla="*/ 1076 w 2151"/>
                <a:gd name="T65" fmla="*/ 2149 h 2149"/>
                <a:gd name="T66" fmla="*/ 959 w 2151"/>
                <a:gd name="T67" fmla="*/ 2142 h 2149"/>
                <a:gd name="T68" fmla="*/ 846 w 2151"/>
                <a:gd name="T69" fmla="*/ 2123 h 2149"/>
                <a:gd name="T70" fmla="*/ 737 w 2151"/>
                <a:gd name="T71" fmla="*/ 2093 h 2149"/>
                <a:gd name="T72" fmla="*/ 632 w 2151"/>
                <a:gd name="T73" fmla="*/ 2054 h 2149"/>
                <a:gd name="T74" fmla="*/ 535 w 2151"/>
                <a:gd name="T75" fmla="*/ 2003 h 2149"/>
                <a:gd name="T76" fmla="*/ 439 w 2151"/>
                <a:gd name="T77" fmla="*/ 1940 h 2149"/>
                <a:gd name="T78" fmla="*/ 351 w 2151"/>
                <a:gd name="T79" fmla="*/ 1868 h 2149"/>
                <a:gd name="T80" fmla="*/ 272 w 2151"/>
                <a:gd name="T81" fmla="*/ 1787 h 2149"/>
                <a:gd name="T82" fmla="*/ 200 w 2151"/>
                <a:gd name="T83" fmla="*/ 1699 h 2149"/>
                <a:gd name="T84" fmla="*/ 140 w 2151"/>
                <a:gd name="T85" fmla="*/ 1603 h 2149"/>
                <a:gd name="T86" fmla="*/ 91 w 2151"/>
                <a:gd name="T87" fmla="*/ 1506 h 2149"/>
                <a:gd name="T88" fmla="*/ 52 w 2151"/>
                <a:gd name="T89" fmla="*/ 1404 h 2149"/>
                <a:gd name="T90" fmla="*/ 24 w 2151"/>
                <a:gd name="T91" fmla="*/ 1299 h 2149"/>
                <a:gd name="T92" fmla="*/ 7 w 2151"/>
                <a:gd name="T93" fmla="*/ 1188 h 2149"/>
                <a:gd name="T94" fmla="*/ 0 w 2151"/>
                <a:gd name="T95" fmla="*/ 1074 h 2149"/>
                <a:gd name="T96" fmla="*/ 7 w 2151"/>
                <a:gd name="T97" fmla="*/ 961 h 2149"/>
                <a:gd name="T98" fmla="*/ 24 w 2151"/>
                <a:gd name="T99" fmla="*/ 852 h 2149"/>
                <a:gd name="T100" fmla="*/ 52 w 2151"/>
                <a:gd name="T101" fmla="*/ 745 h 2149"/>
                <a:gd name="T102" fmla="*/ 91 w 2151"/>
                <a:gd name="T103" fmla="*/ 643 h 2149"/>
                <a:gd name="T104" fmla="*/ 140 w 2151"/>
                <a:gd name="T105" fmla="*/ 548 h 2149"/>
                <a:gd name="T106" fmla="*/ 202 w 2151"/>
                <a:gd name="T107" fmla="*/ 450 h 2149"/>
                <a:gd name="T108" fmla="*/ 274 w 2151"/>
                <a:gd name="T109" fmla="*/ 360 h 2149"/>
                <a:gd name="T110" fmla="*/ 356 w 2151"/>
                <a:gd name="T111" fmla="*/ 278 h 2149"/>
                <a:gd name="T112" fmla="*/ 444 w 2151"/>
                <a:gd name="T113" fmla="*/ 204 h 2149"/>
                <a:gd name="T114" fmla="*/ 541 w 2151"/>
                <a:gd name="T115" fmla="*/ 141 h 2149"/>
                <a:gd name="T116" fmla="*/ 639 w 2151"/>
                <a:gd name="T117" fmla="*/ 93 h 2149"/>
                <a:gd name="T118" fmla="*/ 741 w 2151"/>
                <a:gd name="T119" fmla="*/ 53 h 2149"/>
                <a:gd name="T120" fmla="*/ 850 w 2151"/>
                <a:gd name="T121" fmla="*/ 25 h 2149"/>
                <a:gd name="T122" fmla="*/ 959 w 2151"/>
                <a:gd name="T123" fmla="*/ 7 h 2149"/>
                <a:gd name="T124" fmla="*/ 1076 w 2151"/>
                <a:gd name="T125" fmla="*/ 0 h 2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51" h="2149">
                  <a:moveTo>
                    <a:pt x="1076" y="0"/>
                  </a:moveTo>
                  <a:lnTo>
                    <a:pt x="1076" y="0"/>
                  </a:lnTo>
                  <a:lnTo>
                    <a:pt x="1192" y="7"/>
                  </a:lnTo>
                  <a:lnTo>
                    <a:pt x="1305" y="25"/>
                  </a:lnTo>
                  <a:lnTo>
                    <a:pt x="1415" y="56"/>
                  </a:lnTo>
                  <a:lnTo>
                    <a:pt x="1519" y="95"/>
                  </a:lnTo>
                  <a:lnTo>
                    <a:pt x="1617" y="146"/>
                  </a:lnTo>
                  <a:lnTo>
                    <a:pt x="1712" y="209"/>
                  </a:lnTo>
                  <a:lnTo>
                    <a:pt x="1800" y="281"/>
                  </a:lnTo>
                  <a:lnTo>
                    <a:pt x="1879" y="362"/>
                  </a:lnTo>
                  <a:lnTo>
                    <a:pt x="1951" y="450"/>
                  </a:lnTo>
                  <a:lnTo>
                    <a:pt x="2011" y="545"/>
                  </a:lnTo>
                  <a:lnTo>
                    <a:pt x="2060" y="643"/>
                  </a:lnTo>
                  <a:lnTo>
                    <a:pt x="2097" y="745"/>
                  </a:lnTo>
                  <a:lnTo>
                    <a:pt x="2127" y="852"/>
                  </a:lnTo>
                  <a:lnTo>
                    <a:pt x="2144" y="961"/>
                  </a:lnTo>
                  <a:lnTo>
                    <a:pt x="2151" y="1074"/>
                  </a:lnTo>
                  <a:lnTo>
                    <a:pt x="2144" y="1188"/>
                  </a:lnTo>
                  <a:lnTo>
                    <a:pt x="2127" y="1299"/>
                  </a:lnTo>
                  <a:lnTo>
                    <a:pt x="2097" y="1404"/>
                  </a:lnTo>
                  <a:lnTo>
                    <a:pt x="2060" y="1506"/>
                  </a:lnTo>
                  <a:lnTo>
                    <a:pt x="2011" y="1603"/>
                  </a:lnTo>
                  <a:lnTo>
                    <a:pt x="1949" y="1701"/>
                  </a:lnTo>
                  <a:lnTo>
                    <a:pt x="1877" y="1789"/>
                  </a:lnTo>
                  <a:lnTo>
                    <a:pt x="1795" y="1873"/>
                  </a:lnTo>
                  <a:lnTo>
                    <a:pt x="1707" y="1944"/>
                  </a:lnTo>
                  <a:lnTo>
                    <a:pt x="1610" y="2007"/>
                  </a:lnTo>
                  <a:lnTo>
                    <a:pt x="1512" y="2056"/>
                  </a:lnTo>
                  <a:lnTo>
                    <a:pt x="1410" y="2095"/>
                  </a:lnTo>
                  <a:lnTo>
                    <a:pt x="1301" y="2125"/>
                  </a:lnTo>
                  <a:lnTo>
                    <a:pt x="1189" y="2142"/>
                  </a:lnTo>
                  <a:lnTo>
                    <a:pt x="1076" y="2149"/>
                  </a:lnTo>
                  <a:lnTo>
                    <a:pt x="1076" y="2149"/>
                  </a:lnTo>
                  <a:lnTo>
                    <a:pt x="959" y="2142"/>
                  </a:lnTo>
                  <a:lnTo>
                    <a:pt x="846" y="2123"/>
                  </a:lnTo>
                  <a:lnTo>
                    <a:pt x="737" y="2093"/>
                  </a:lnTo>
                  <a:lnTo>
                    <a:pt x="632" y="2054"/>
                  </a:lnTo>
                  <a:lnTo>
                    <a:pt x="535" y="2003"/>
                  </a:lnTo>
                  <a:lnTo>
                    <a:pt x="439" y="1940"/>
                  </a:lnTo>
                  <a:lnTo>
                    <a:pt x="351" y="1868"/>
                  </a:lnTo>
                  <a:lnTo>
                    <a:pt x="272" y="1787"/>
                  </a:lnTo>
                  <a:lnTo>
                    <a:pt x="200" y="1699"/>
                  </a:lnTo>
                  <a:lnTo>
                    <a:pt x="140" y="1603"/>
                  </a:lnTo>
                  <a:lnTo>
                    <a:pt x="91" y="1506"/>
                  </a:lnTo>
                  <a:lnTo>
                    <a:pt x="52" y="1404"/>
                  </a:lnTo>
                  <a:lnTo>
                    <a:pt x="24" y="1299"/>
                  </a:lnTo>
                  <a:lnTo>
                    <a:pt x="7" y="1188"/>
                  </a:lnTo>
                  <a:lnTo>
                    <a:pt x="0" y="1074"/>
                  </a:lnTo>
                  <a:lnTo>
                    <a:pt x="7" y="961"/>
                  </a:lnTo>
                  <a:lnTo>
                    <a:pt x="24" y="852"/>
                  </a:lnTo>
                  <a:lnTo>
                    <a:pt x="52" y="745"/>
                  </a:lnTo>
                  <a:lnTo>
                    <a:pt x="91" y="643"/>
                  </a:lnTo>
                  <a:lnTo>
                    <a:pt x="140" y="548"/>
                  </a:lnTo>
                  <a:lnTo>
                    <a:pt x="202" y="450"/>
                  </a:lnTo>
                  <a:lnTo>
                    <a:pt x="274" y="360"/>
                  </a:lnTo>
                  <a:lnTo>
                    <a:pt x="356" y="278"/>
                  </a:lnTo>
                  <a:lnTo>
                    <a:pt x="444" y="204"/>
                  </a:lnTo>
                  <a:lnTo>
                    <a:pt x="541" y="141"/>
                  </a:lnTo>
                  <a:lnTo>
                    <a:pt x="639" y="93"/>
                  </a:lnTo>
                  <a:lnTo>
                    <a:pt x="741" y="53"/>
                  </a:lnTo>
                  <a:lnTo>
                    <a:pt x="850" y="25"/>
                  </a:lnTo>
                  <a:lnTo>
                    <a:pt x="959" y="7"/>
                  </a:lnTo>
                  <a:lnTo>
                    <a:pt x="1076" y="0"/>
                  </a:lnTo>
                  <a:close/>
                </a:path>
              </a:pathLst>
            </a:custGeom>
            <a:solidFill>
              <a:schemeClr val="bg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grpSp>
          <p:nvGrpSpPr>
            <p:cNvPr id="283" name="Group 282"/>
            <p:cNvGrpSpPr/>
            <p:nvPr/>
          </p:nvGrpSpPr>
          <p:grpSpPr>
            <a:xfrm>
              <a:off x="4387458" y="1716091"/>
              <a:ext cx="3413910" cy="3417855"/>
              <a:chOff x="4387458" y="1722047"/>
              <a:chExt cx="3413910" cy="3413908"/>
            </a:xfrm>
            <a:effectLst>
              <a:outerShdw blurRad="292100" sx="108000" sy="108000" algn="ctr" rotWithShape="0">
                <a:prstClr val="black">
                  <a:alpha val="40000"/>
                </a:prstClr>
              </a:outerShdw>
            </a:effectLst>
          </p:grpSpPr>
          <p:sp>
            <p:nvSpPr>
              <p:cNvPr id="65" name="Freeform 64"/>
              <p:cNvSpPr>
                <a:spLocks/>
              </p:cNvSpPr>
              <p:nvPr/>
            </p:nvSpPr>
            <p:spPr bwMode="auto">
              <a:xfrm>
                <a:off x="6094937" y="1722047"/>
                <a:ext cx="859497" cy="842747"/>
              </a:xfrm>
              <a:custGeom>
                <a:avLst/>
                <a:gdLst>
                  <a:gd name="T0" fmla="*/ 0 w 1642"/>
                  <a:gd name="T1" fmla="*/ 0 h 1610"/>
                  <a:gd name="T2" fmla="*/ 198 w 1642"/>
                  <a:gd name="T3" fmla="*/ 6 h 1610"/>
                  <a:gd name="T4" fmla="*/ 392 w 1642"/>
                  <a:gd name="T5" fmla="*/ 22 h 1610"/>
                  <a:gd name="T6" fmla="*/ 584 w 1642"/>
                  <a:gd name="T7" fmla="*/ 51 h 1610"/>
                  <a:gd name="T8" fmla="*/ 772 w 1642"/>
                  <a:gd name="T9" fmla="*/ 91 h 1610"/>
                  <a:gd name="T10" fmla="*/ 955 w 1642"/>
                  <a:gd name="T11" fmla="*/ 142 h 1610"/>
                  <a:gd name="T12" fmla="*/ 1134 w 1642"/>
                  <a:gd name="T13" fmla="*/ 202 h 1610"/>
                  <a:gd name="T14" fmla="*/ 1310 w 1642"/>
                  <a:gd name="T15" fmla="*/ 273 h 1610"/>
                  <a:gd name="T16" fmla="*/ 1478 w 1642"/>
                  <a:gd name="T17" fmla="*/ 352 h 1610"/>
                  <a:gd name="T18" fmla="*/ 1642 w 1642"/>
                  <a:gd name="T19" fmla="*/ 441 h 1610"/>
                  <a:gd name="T20" fmla="*/ 961 w 1642"/>
                  <a:gd name="T21" fmla="*/ 1610 h 1610"/>
                  <a:gd name="T22" fmla="*/ 837 w 1642"/>
                  <a:gd name="T23" fmla="*/ 1543 h 1610"/>
                  <a:gd name="T24" fmla="*/ 708 w 1642"/>
                  <a:gd name="T25" fmla="*/ 1486 h 1610"/>
                  <a:gd name="T26" fmla="*/ 574 w 1642"/>
                  <a:gd name="T27" fmla="*/ 1438 h 1610"/>
                  <a:gd name="T28" fmla="*/ 437 w 1642"/>
                  <a:gd name="T29" fmla="*/ 1400 h 1610"/>
                  <a:gd name="T30" fmla="*/ 295 w 1642"/>
                  <a:gd name="T31" fmla="*/ 1373 h 1610"/>
                  <a:gd name="T32" fmla="*/ 148 w 1642"/>
                  <a:gd name="T33" fmla="*/ 1355 h 1610"/>
                  <a:gd name="T34" fmla="*/ 0 w 1642"/>
                  <a:gd name="T35" fmla="*/ 1349 h 1610"/>
                  <a:gd name="T36" fmla="*/ 0 w 1642"/>
                  <a:gd name="T37" fmla="*/ 0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42" h="1610">
                    <a:moveTo>
                      <a:pt x="0" y="0"/>
                    </a:moveTo>
                    <a:lnTo>
                      <a:pt x="198" y="6"/>
                    </a:lnTo>
                    <a:lnTo>
                      <a:pt x="392" y="22"/>
                    </a:lnTo>
                    <a:lnTo>
                      <a:pt x="584" y="51"/>
                    </a:lnTo>
                    <a:lnTo>
                      <a:pt x="772" y="91"/>
                    </a:lnTo>
                    <a:lnTo>
                      <a:pt x="955" y="142"/>
                    </a:lnTo>
                    <a:lnTo>
                      <a:pt x="1134" y="202"/>
                    </a:lnTo>
                    <a:lnTo>
                      <a:pt x="1310" y="273"/>
                    </a:lnTo>
                    <a:lnTo>
                      <a:pt x="1478" y="352"/>
                    </a:lnTo>
                    <a:lnTo>
                      <a:pt x="1642" y="441"/>
                    </a:lnTo>
                    <a:lnTo>
                      <a:pt x="961" y="1610"/>
                    </a:lnTo>
                    <a:lnTo>
                      <a:pt x="837" y="1543"/>
                    </a:lnTo>
                    <a:lnTo>
                      <a:pt x="708" y="1486"/>
                    </a:lnTo>
                    <a:lnTo>
                      <a:pt x="574" y="1438"/>
                    </a:lnTo>
                    <a:lnTo>
                      <a:pt x="437" y="1400"/>
                    </a:lnTo>
                    <a:lnTo>
                      <a:pt x="295" y="1373"/>
                    </a:lnTo>
                    <a:lnTo>
                      <a:pt x="148" y="1355"/>
                    </a:lnTo>
                    <a:lnTo>
                      <a:pt x="0" y="1349"/>
                    </a:lnTo>
                    <a:lnTo>
                      <a:pt x="0" y="0"/>
                    </a:lnTo>
                    <a:close/>
                  </a:path>
                </a:pathLst>
              </a:custGeom>
              <a:gradFill>
                <a:gsLst>
                  <a:gs pos="86000">
                    <a:schemeClr val="bg1">
                      <a:lumMod val="85000"/>
                    </a:schemeClr>
                  </a:gs>
                  <a:gs pos="20000">
                    <a:schemeClr val="bg1">
                      <a:lumMod val="95000"/>
                    </a:schemeClr>
                  </a:gs>
                </a:gsLst>
                <a:lin ang="108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66" name="Freeform 65"/>
              <p:cNvSpPr>
                <a:spLocks/>
              </p:cNvSpPr>
              <p:nvPr/>
            </p:nvSpPr>
            <p:spPr bwMode="auto">
              <a:xfrm>
                <a:off x="4387458" y="2589918"/>
                <a:ext cx="836466" cy="838559"/>
              </a:xfrm>
              <a:custGeom>
                <a:avLst/>
                <a:gdLst>
                  <a:gd name="T0" fmla="*/ 421 w 1598"/>
                  <a:gd name="T1" fmla="*/ 0 h 1602"/>
                  <a:gd name="T2" fmla="*/ 1598 w 1598"/>
                  <a:gd name="T3" fmla="*/ 662 h 1602"/>
                  <a:gd name="T4" fmla="*/ 1535 w 1598"/>
                  <a:gd name="T5" fmla="*/ 785 h 1602"/>
                  <a:gd name="T6" fmla="*/ 1480 w 1598"/>
                  <a:gd name="T7" fmla="*/ 912 h 1602"/>
                  <a:gd name="T8" fmla="*/ 1434 w 1598"/>
                  <a:gd name="T9" fmla="*/ 1042 h 1602"/>
                  <a:gd name="T10" fmla="*/ 1399 w 1598"/>
                  <a:gd name="T11" fmla="*/ 1177 h 1602"/>
                  <a:gd name="T12" fmla="*/ 1373 w 1598"/>
                  <a:gd name="T13" fmla="*/ 1315 h 1602"/>
                  <a:gd name="T14" fmla="*/ 1355 w 1598"/>
                  <a:gd name="T15" fmla="*/ 1458 h 1602"/>
                  <a:gd name="T16" fmla="*/ 1351 w 1598"/>
                  <a:gd name="T17" fmla="*/ 1602 h 1602"/>
                  <a:gd name="T18" fmla="*/ 0 w 1598"/>
                  <a:gd name="T19" fmla="*/ 1602 h 1602"/>
                  <a:gd name="T20" fmla="*/ 6 w 1598"/>
                  <a:gd name="T21" fmla="*/ 1410 h 1602"/>
                  <a:gd name="T22" fmla="*/ 22 w 1598"/>
                  <a:gd name="T23" fmla="*/ 1220 h 1602"/>
                  <a:gd name="T24" fmla="*/ 49 w 1598"/>
                  <a:gd name="T25" fmla="*/ 1032 h 1602"/>
                  <a:gd name="T26" fmla="*/ 87 w 1598"/>
                  <a:gd name="T27" fmla="*/ 850 h 1602"/>
                  <a:gd name="T28" fmla="*/ 135 w 1598"/>
                  <a:gd name="T29" fmla="*/ 670 h 1602"/>
                  <a:gd name="T30" fmla="*/ 192 w 1598"/>
                  <a:gd name="T31" fmla="*/ 496 h 1602"/>
                  <a:gd name="T32" fmla="*/ 259 w 1598"/>
                  <a:gd name="T33" fmla="*/ 326 h 1602"/>
                  <a:gd name="T34" fmla="*/ 336 w 1598"/>
                  <a:gd name="T35" fmla="*/ 160 h 1602"/>
                  <a:gd name="T36" fmla="*/ 421 w 1598"/>
                  <a:gd name="T37" fmla="*/ 0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8" h="1602">
                    <a:moveTo>
                      <a:pt x="421" y="0"/>
                    </a:moveTo>
                    <a:lnTo>
                      <a:pt x="1598" y="662"/>
                    </a:lnTo>
                    <a:lnTo>
                      <a:pt x="1535" y="785"/>
                    </a:lnTo>
                    <a:lnTo>
                      <a:pt x="1480" y="912"/>
                    </a:lnTo>
                    <a:lnTo>
                      <a:pt x="1434" y="1042"/>
                    </a:lnTo>
                    <a:lnTo>
                      <a:pt x="1399" y="1177"/>
                    </a:lnTo>
                    <a:lnTo>
                      <a:pt x="1373" y="1315"/>
                    </a:lnTo>
                    <a:lnTo>
                      <a:pt x="1355" y="1458"/>
                    </a:lnTo>
                    <a:lnTo>
                      <a:pt x="1351" y="1602"/>
                    </a:lnTo>
                    <a:lnTo>
                      <a:pt x="0" y="1602"/>
                    </a:lnTo>
                    <a:lnTo>
                      <a:pt x="6" y="1410"/>
                    </a:lnTo>
                    <a:lnTo>
                      <a:pt x="22" y="1220"/>
                    </a:lnTo>
                    <a:lnTo>
                      <a:pt x="49" y="1032"/>
                    </a:lnTo>
                    <a:lnTo>
                      <a:pt x="87" y="850"/>
                    </a:lnTo>
                    <a:lnTo>
                      <a:pt x="135" y="670"/>
                    </a:lnTo>
                    <a:lnTo>
                      <a:pt x="192" y="496"/>
                    </a:lnTo>
                    <a:lnTo>
                      <a:pt x="259" y="326"/>
                    </a:lnTo>
                    <a:lnTo>
                      <a:pt x="336" y="160"/>
                    </a:lnTo>
                    <a:lnTo>
                      <a:pt x="421" y="0"/>
                    </a:lnTo>
                    <a:close/>
                  </a:path>
                </a:pathLst>
              </a:custGeom>
              <a:gradFill>
                <a:gsLst>
                  <a:gs pos="100000">
                    <a:schemeClr val="bg1">
                      <a:lumMod val="85000"/>
                    </a:schemeClr>
                  </a:gs>
                  <a:gs pos="60000">
                    <a:schemeClr val="bg1">
                      <a:lumMod val="95000"/>
                    </a:schemeClr>
                  </a:gs>
                </a:gsLst>
                <a:lin ang="54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67" name="Freeform 66"/>
              <p:cNvSpPr>
                <a:spLocks/>
              </p:cNvSpPr>
              <p:nvPr/>
            </p:nvSpPr>
            <p:spPr bwMode="auto">
              <a:xfrm>
                <a:off x="4608352" y="1947128"/>
                <a:ext cx="989312" cy="989311"/>
              </a:xfrm>
              <a:custGeom>
                <a:avLst/>
                <a:gdLst>
                  <a:gd name="T0" fmla="*/ 1223 w 1891"/>
                  <a:gd name="T1" fmla="*/ 0 h 1891"/>
                  <a:gd name="T2" fmla="*/ 1891 w 1891"/>
                  <a:gd name="T3" fmla="*/ 1173 h 1891"/>
                  <a:gd name="T4" fmla="*/ 1767 w 1891"/>
                  <a:gd name="T5" fmla="*/ 1250 h 1891"/>
                  <a:gd name="T6" fmla="*/ 1650 w 1891"/>
                  <a:gd name="T7" fmla="*/ 1337 h 1891"/>
                  <a:gd name="T8" fmla="*/ 1539 w 1891"/>
                  <a:gd name="T9" fmla="*/ 1432 h 1891"/>
                  <a:gd name="T10" fmla="*/ 1435 w 1891"/>
                  <a:gd name="T11" fmla="*/ 1537 h 1891"/>
                  <a:gd name="T12" fmla="*/ 1340 w 1891"/>
                  <a:gd name="T13" fmla="*/ 1648 h 1891"/>
                  <a:gd name="T14" fmla="*/ 1255 w 1891"/>
                  <a:gd name="T15" fmla="*/ 1767 h 1891"/>
                  <a:gd name="T16" fmla="*/ 1177 w 1891"/>
                  <a:gd name="T17" fmla="*/ 1891 h 1891"/>
                  <a:gd name="T18" fmla="*/ 0 w 1891"/>
                  <a:gd name="T19" fmla="*/ 1229 h 1891"/>
                  <a:gd name="T20" fmla="*/ 91 w 1891"/>
                  <a:gd name="T21" fmla="*/ 1076 h 1891"/>
                  <a:gd name="T22" fmla="*/ 188 w 1891"/>
                  <a:gd name="T23" fmla="*/ 932 h 1891"/>
                  <a:gd name="T24" fmla="*/ 295 w 1891"/>
                  <a:gd name="T25" fmla="*/ 791 h 1891"/>
                  <a:gd name="T26" fmla="*/ 408 w 1891"/>
                  <a:gd name="T27" fmla="*/ 659 h 1891"/>
                  <a:gd name="T28" fmla="*/ 529 w 1891"/>
                  <a:gd name="T29" fmla="*/ 532 h 1891"/>
                  <a:gd name="T30" fmla="*/ 655 w 1891"/>
                  <a:gd name="T31" fmla="*/ 412 h 1891"/>
                  <a:gd name="T32" fmla="*/ 788 w 1891"/>
                  <a:gd name="T33" fmla="*/ 297 h 1891"/>
                  <a:gd name="T34" fmla="*/ 926 w 1891"/>
                  <a:gd name="T35" fmla="*/ 190 h 1891"/>
                  <a:gd name="T36" fmla="*/ 1073 w 1891"/>
                  <a:gd name="T37" fmla="*/ 91 h 1891"/>
                  <a:gd name="T38" fmla="*/ 1223 w 1891"/>
                  <a:gd name="T39" fmla="*/ 0 h 1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91" h="1891">
                    <a:moveTo>
                      <a:pt x="1223" y="0"/>
                    </a:moveTo>
                    <a:lnTo>
                      <a:pt x="1891" y="1173"/>
                    </a:lnTo>
                    <a:lnTo>
                      <a:pt x="1767" y="1250"/>
                    </a:lnTo>
                    <a:lnTo>
                      <a:pt x="1650" y="1337"/>
                    </a:lnTo>
                    <a:lnTo>
                      <a:pt x="1539" y="1432"/>
                    </a:lnTo>
                    <a:lnTo>
                      <a:pt x="1435" y="1537"/>
                    </a:lnTo>
                    <a:lnTo>
                      <a:pt x="1340" y="1648"/>
                    </a:lnTo>
                    <a:lnTo>
                      <a:pt x="1255" y="1767"/>
                    </a:lnTo>
                    <a:lnTo>
                      <a:pt x="1177" y="1891"/>
                    </a:lnTo>
                    <a:lnTo>
                      <a:pt x="0" y="1229"/>
                    </a:lnTo>
                    <a:lnTo>
                      <a:pt x="91" y="1076"/>
                    </a:lnTo>
                    <a:lnTo>
                      <a:pt x="188" y="932"/>
                    </a:lnTo>
                    <a:lnTo>
                      <a:pt x="295" y="791"/>
                    </a:lnTo>
                    <a:lnTo>
                      <a:pt x="408" y="659"/>
                    </a:lnTo>
                    <a:lnTo>
                      <a:pt x="529" y="532"/>
                    </a:lnTo>
                    <a:lnTo>
                      <a:pt x="655" y="412"/>
                    </a:lnTo>
                    <a:lnTo>
                      <a:pt x="788" y="297"/>
                    </a:lnTo>
                    <a:lnTo>
                      <a:pt x="926" y="190"/>
                    </a:lnTo>
                    <a:lnTo>
                      <a:pt x="1073" y="91"/>
                    </a:lnTo>
                    <a:lnTo>
                      <a:pt x="1223" y="0"/>
                    </a:lnTo>
                    <a:close/>
                  </a:path>
                </a:pathLst>
              </a:custGeom>
              <a:gradFill>
                <a:gsLst>
                  <a:gs pos="86000">
                    <a:schemeClr val="bg1">
                      <a:lumMod val="85000"/>
                    </a:schemeClr>
                  </a:gs>
                  <a:gs pos="17000">
                    <a:schemeClr val="bg1">
                      <a:lumMod val="95000"/>
                    </a:schemeClr>
                  </a:gs>
                </a:gsLst>
                <a:lin ang="108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68" name="Freeform 67"/>
              <p:cNvSpPr>
                <a:spLocks/>
              </p:cNvSpPr>
              <p:nvPr/>
            </p:nvSpPr>
            <p:spPr bwMode="auto">
              <a:xfrm>
                <a:off x="4387458" y="3428477"/>
                <a:ext cx="836466" cy="839606"/>
              </a:xfrm>
              <a:custGeom>
                <a:avLst/>
                <a:gdLst>
                  <a:gd name="T0" fmla="*/ 0 w 1598"/>
                  <a:gd name="T1" fmla="*/ 0 h 1604"/>
                  <a:gd name="T2" fmla="*/ 1351 w 1598"/>
                  <a:gd name="T3" fmla="*/ 0 h 1604"/>
                  <a:gd name="T4" fmla="*/ 1355 w 1598"/>
                  <a:gd name="T5" fmla="*/ 146 h 1604"/>
                  <a:gd name="T6" fmla="*/ 1373 w 1598"/>
                  <a:gd name="T7" fmla="*/ 289 h 1604"/>
                  <a:gd name="T8" fmla="*/ 1399 w 1598"/>
                  <a:gd name="T9" fmla="*/ 427 h 1604"/>
                  <a:gd name="T10" fmla="*/ 1434 w 1598"/>
                  <a:gd name="T11" fmla="*/ 562 h 1604"/>
                  <a:gd name="T12" fmla="*/ 1480 w 1598"/>
                  <a:gd name="T13" fmla="*/ 692 h 1604"/>
                  <a:gd name="T14" fmla="*/ 1535 w 1598"/>
                  <a:gd name="T15" fmla="*/ 819 h 1604"/>
                  <a:gd name="T16" fmla="*/ 1598 w 1598"/>
                  <a:gd name="T17" fmla="*/ 940 h 1604"/>
                  <a:gd name="T18" fmla="*/ 421 w 1598"/>
                  <a:gd name="T19" fmla="*/ 1604 h 1604"/>
                  <a:gd name="T20" fmla="*/ 336 w 1598"/>
                  <a:gd name="T21" fmla="*/ 1444 h 1604"/>
                  <a:gd name="T22" fmla="*/ 261 w 1598"/>
                  <a:gd name="T23" fmla="*/ 1280 h 1604"/>
                  <a:gd name="T24" fmla="*/ 194 w 1598"/>
                  <a:gd name="T25" fmla="*/ 1108 h 1604"/>
                  <a:gd name="T26" fmla="*/ 135 w 1598"/>
                  <a:gd name="T27" fmla="*/ 934 h 1604"/>
                  <a:gd name="T28" fmla="*/ 87 w 1598"/>
                  <a:gd name="T29" fmla="*/ 754 h 1604"/>
                  <a:gd name="T30" fmla="*/ 49 w 1598"/>
                  <a:gd name="T31" fmla="*/ 570 h 1604"/>
                  <a:gd name="T32" fmla="*/ 22 w 1598"/>
                  <a:gd name="T33" fmla="*/ 384 h 1604"/>
                  <a:gd name="T34" fmla="*/ 6 w 1598"/>
                  <a:gd name="T35" fmla="*/ 194 h 1604"/>
                  <a:gd name="T36" fmla="*/ 0 w 1598"/>
                  <a:gd name="T37" fmla="*/ 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8" h="1604">
                    <a:moveTo>
                      <a:pt x="0" y="0"/>
                    </a:moveTo>
                    <a:lnTo>
                      <a:pt x="1351" y="0"/>
                    </a:lnTo>
                    <a:lnTo>
                      <a:pt x="1355" y="146"/>
                    </a:lnTo>
                    <a:lnTo>
                      <a:pt x="1373" y="289"/>
                    </a:lnTo>
                    <a:lnTo>
                      <a:pt x="1399" y="427"/>
                    </a:lnTo>
                    <a:lnTo>
                      <a:pt x="1434" y="562"/>
                    </a:lnTo>
                    <a:lnTo>
                      <a:pt x="1480" y="692"/>
                    </a:lnTo>
                    <a:lnTo>
                      <a:pt x="1535" y="819"/>
                    </a:lnTo>
                    <a:lnTo>
                      <a:pt x="1598" y="940"/>
                    </a:lnTo>
                    <a:lnTo>
                      <a:pt x="421" y="1604"/>
                    </a:lnTo>
                    <a:lnTo>
                      <a:pt x="336" y="1444"/>
                    </a:lnTo>
                    <a:lnTo>
                      <a:pt x="261" y="1280"/>
                    </a:lnTo>
                    <a:lnTo>
                      <a:pt x="194" y="1108"/>
                    </a:lnTo>
                    <a:lnTo>
                      <a:pt x="135" y="934"/>
                    </a:lnTo>
                    <a:lnTo>
                      <a:pt x="87" y="754"/>
                    </a:lnTo>
                    <a:lnTo>
                      <a:pt x="49" y="570"/>
                    </a:lnTo>
                    <a:lnTo>
                      <a:pt x="22" y="384"/>
                    </a:lnTo>
                    <a:lnTo>
                      <a:pt x="6" y="194"/>
                    </a:lnTo>
                    <a:lnTo>
                      <a:pt x="0" y="0"/>
                    </a:lnTo>
                    <a:close/>
                  </a:path>
                </a:pathLst>
              </a:custGeom>
              <a:gradFill>
                <a:gsLst>
                  <a:gs pos="49000">
                    <a:schemeClr val="bg1">
                      <a:lumMod val="85000"/>
                    </a:schemeClr>
                  </a:gs>
                  <a:gs pos="29000">
                    <a:schemeClr val="bg1">
                      <a:lumMod val="95000"/>
                    </a:schemeClr>
                  </a:gs>
                </a:gsLst>
                <a:lin ang="396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69" name="Freeform 68"/>
              <p:cNvSpPr>
                <a:spLocks/>
              </p:cNvSpPr>
              <p:nvPr/>
            </p:nvSpPr>
            <p:spPr bwMode="auto">
              <a:xfrm>
                <a:off x="5248002" y="1722047"/>
                <a:ext cx="846935" cy="838559"/>
              </a:xfrm>
              <a:custGeom>
                <a:avLst/>
                <a:gdLst>
                  <a:gd name="T0" fmla="*/ 1618 w 1618"/>
                  <a:gd name="T1" fmla="*/ 0 h 1602"/>
                  <a:gd name="T2" fmla="*/ 1618 w 1618"/>
                  <a:gd name="T3" fmla="*/ 0 h 1602"/>
                  <a:gd name="T4" fmla="*/ 1618 w 1618"/>
                  <a:gd name="T5" fmla="*/ 1349 h 1602"/>
                  <a:gd name="T6" fmla="*/ 1618 w 1618"/>
                  <a:gd name="T7" fmla="*/ 1349 h 1602"/>
                  <a:gd name="T8" fmla="*/ 1472 w 1618"/>
                  <a:gd name="T9" fmla="*/ 1355 h 1602"/>
                  <a:gd name="T10" fmla="*/ 1327 w 1618"/>
                  <a:gd name="T11" fmla="*/ 1371 h 1602"/>
                  <a:gd name="T12" fmla="*/ 1187 w 1618"/>
                  <a:gd name="T13" fmla="*/ 1399 h 1602"/>
                  <a:gd name="T14" fmla="*/ 1050 w 1618"/>
                  <a:gd name="T15" fmla="*/ 1436 h 1602"/>
                  <a:gd name="T16" fmla="*/ 920 w 1618"/>
                  <a:gd name="T17" fmla="*/ 1482 h 1602"/>
                  <a:gd name="T18" fmla="*/ 791 w 1618"/>
                  <a:gd name="T19" fmla="*/ 1537 h 1602"/>
                  <a:gd name="T20" fmla="*/ 668 w 1618"/>
                  <a:gd name="T21" fmla="*/ 1602 h 1602"/>
                  <a:gd name="T22" fmla="*/ 0 w 1618"/>
                  <a:gd name="T23" fmla="*/ 429 h 1602"/>
                  <a:gd name="T24" fmla="*/ 160 w 1618"/>
                  <a:gd name="T25" fmla="*/ 342 h 1602"/>
                  <a:gd name="T26" fmla="*/ 328 w 1618"/>
                  <a:gd name="T27" fmla="*/ 265 h 1602"/>
                  <a:gd name="T28" fmla="*/ 500 w 1618"/>
                  <a:gd name="T29" fmla="*/ 196 h 1602"/>
                  <a:gd name="T30" fmla="*/ 676 w 1618"/>
                  <a:gd name="T31" fmla="*/ 136 h 1602"/>
                  <a:gd name="T32" fmla="*/ 856 w 1618"/>
                  <a:gd name="T33" fmla="*/ 89 h 1602"/>
                  <a:gd name="T34" fmla="*/ 1042 w 1618"/>
                  <a:gd name="T35" fmla="*/ 49 h 1602"/>
                  <a:gd name="T36" fmla="*/ 1230 w 1618"/>
                  <a:gd name="T37" fmla="*/ 22 h 1602"/>
                  <a:gd name="T38" fmla="*/ 1422 w 1618"/>
                  <a:gd name="T39" fmla="*/ 4 h 1602"/>
                  <a:gd name="T40" fmla="*/ 1618 w 1618"/>
                  <a:gd name="T41" fmla="*/ 0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18" h="1602">
                    <a:moveTo>
                      <a:pt x="1618" y="0"/>
                    </a:moveTo>
                    <a:lnTo>
                      <a:pt x="1618" y="0"/>
                    </a:lnTo>
                    <a:lnTo>
                      <a:pt x="1618" y="1349"/>
                    </a:lnTo>
                    <a:lnTo>
                      <a:pt x="1618" y="1349"/>
                    </a:lnTo>
                    <a:lnTo>
                      <a:pt x="1472" y="1355"/>
                    </a:lnTo>
                    <a:lnTo>
                      <a:pt x="1327" y="1371"/>
                    </a:lnTo>
                    <a:lnTo>
                      <a:pt x="1187" y="1399"/>
                    </a:lnTo>
                    <a:lnTo>
                      <a:pt x="1050" y="1436"/>
                    </a:lnTo>
                    <a:lnTo>
                      <a:pt x="920" y="1482"/>
                    </a:lnTo>
                    <a:lnTo>
                      <a:pt x="791" y="1537"/>
                    </a:lnTo>
                    <a:lnTo>
                      <a:pt x="668" y="1602"/>
                    </a:lnTo>
                    <a:lnTo>
                      <a:pt x="0" y="429"/>
                    </a:lnTo>
                    <a:lnTo>
                      <a:pt x="160" y="342"/>
                    </a:lnTo>
                    <a:lnTo>
                      <a:pt x="328" y="265"/>
                    </a:lnTo>
                    <a:lnTo>
                      <a:pt x="500" y="196"/>
                    </a:lnTo>
                    <a:lnTo>
                      <a:pt x="676" y="136"/>
                    </a:lnTo>
                    <a:lnTo>
                      <a:pt x="856" y="89"/>
                    </a:lnTo>
                    <a:lnTo>
                      <a:pt x="1042" y="49"/>
                    </a:lnTo>
                    <a:lnTo>
                      <a:pt x="1230" y="22"/>
                    </a:lnTo>
                    <a:lnTo>
                      <a:pt x="1422" y="4"/>
                    </a:lnTo>
                    <a:lnTo>
                      <a:pt x="1618" y="0"/>
                    </a:lnTo>
                    <a:close/>
                  </a:path>
                </a:pathLst>
              </a:custGeom>
              <a:gradFill>
                <a:gsLst>
                  <a:gs pos="86000">
                    <a:schemeClr val="bg1">
                      <a:lumMod val="85000"/>
                    </a:schemeClr>
                  </a:gs>
                  <a:gs pos="17000">
                    <a:schemeClr val="bg1">
                      <a:lumMod val="95000"/>
                    </a:schemeClr>
                  </a:gs>
                </a:gsLst>
                <a:lin ang="108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0" name="Freeform 69"/>
              <p:cNvSpPr>
                <a:spLocks/>
              </p:cNvSpPr>
              <p:nvPr/>
            </p:nvSpPr>
            <p:spPr bwMode="auto">
              <a:xfrm>
                <a:off x="6965949" y="2588872"/>
                <a:ext cx="835419" cy="839606"/>
              </a:xfrm>
              <a:custGeom>
                <a:avLst/>
                <a:gdLst>
                  <a:gd name="T0" fmla="*/ 1175 w 1596"/>
                  <a:gd name="T1" fmla="*/ 0 h 1604"/>
                  <a:gd name="T2" fmla="*/ 1260 w 1596"/>
                  <a:gd name="T3" fmla="*/ 160 h 1604"/>
                  <a:gd name="T4" fmla="*/ 1337 w 1596"/>
                  <a:gd name="T5" fmla="*/ 326 h 1604"/>
                  <a:gd name="T6" fmla="*/ 1404 w 1596"/>
                  <a:gd name="T7" fmla="*/ 496 h 1604"/>
                  <a:gd name="T8" fmla="*/ 1462 w 1596"/>
                  <a:gd name="T9" fmla="*/ 672 h 1604"/>
                  <a:gd name="T10" fmla="*/ 1509 w 1596"/>
                  <a:gd name="T11" fmla="*/ 850 h 1604"/>
                  <a:gd name="T12" fmla="*/ 1547 w 1596"/>
                  <a:gd name="T13" fmla="*/ 1034 h 1604"/>
                  <a:gd name="T14" fmla="*/ 1574 w 1596"/>
                  <a:gd name="T15" fmla="*/ 1222 h 1604"/>
                  <a:gd name="T16" fmla="*/ 1592 w 1596"/>
                  <a:gd name="T17" fmla="*/ 1412 h 1604"/>
                  <a:gd name="T18" fmla="*/ 1596 w 1596"/>
                  <a:gd name="T19" fmla="*/ 1604 h 1604"/>
                  <a:gd name="T20" fmla="*/ 247 w 1596"/>
                  <a:gd name="T21" fmla="*/ 1604 h 1604"/>
                  <a:gd name="T22" fmla="*/ 241 w 1596"/>
                  <a:gd name="T23" fmla="*/ 1460 h 1604"/>
                  <a:gd name="T24" fmla="*/ 225 w 1596"/>
                  <a:gd name="T25" fmla="*/ 1317 h 1604"/>
                  <a:gd name="T26" fmla="*/ 199 w 1596"/>
                  <a:gd name="T27" fmla="*/ 1179 h 1604"/>
                  <a:gd name="T28" fmla="*/ 162 w 1596"/>
                  <a:gd name="T29" fmla="*/ 1044 h 1604"/>
                  <a:gd name="T30" fmla="*/ 116 w 1596"/>
                  <a:gd name="T31" fmla="*/ 912 h 1604"/>
                  <a:gd name="T32" fmla="*/ 63 w 1596"/>
                  <a:gd name="T33" fmla="*/ 785 h 1604"/>
                  <a:gd name="T34" fmla="*/ 0 w 1596"/>
                  <a:gd name="T35" fmla="*/ 664 h 1604"/>
                  <a:gd name="T36" fmla="*/ 1175 w 1596"/>
                  <a:gd name="T37" fmla="*/ 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6" h="1604">
                    <a:moveTo>
                      <a:pt x="1175" y="0"/>
                    </a:moveTo>
                    <a:lnTo>
                      <a:pt x="1260" y="160"/>
                    </a:lnTo>
                    <a:lnTo>
                      <a:pt x="1337" y="326"/>
                    </a:lnTo>
                    <a:lnTo>
                      <a:pt x="1404" y="496"/>
                    </a:lnTo>
                    <a:lnTo>
                      <a:pt x="1462" y="672"/>
                    </a:lnTo>
                    <a:lnTo>
                      <a:pt x="1509" y="850"/>
                    </a:lnTo>
                    <a:lnTo>
                      <a:pt x="1547" y="1034"/>
                    </a:lnTo>
                    <a:lnTo>
                      <a:pt x="1574" y="1222"/>
                    </a:lnTo>
                    <a:lnTo>
                      <a:pt x="1592" y="1412"/>
                    </a:lnTo>
                    <a:lnTo>
                      <a:pt x="1596" y="1604"/>
                    </a:lnTo>
                    <a:lnTo>
                      <a:pt x="247" y="1604"/>
                    </a:lnTo>
                    <a:lnTo>
                      <a:pt x="241" y="1460"/>
                    </a:lnTo>
                    <a:lnTo>
                      <a:pt x="225" y="1317"/>
                    </a:lnTo>
                    <a:lnTo>
                      <a:pt x="199" y="1179"/>
                    </a:lnTo>
                    <a:lnTo>
                      <a:pt x="162" y="1044"/>
                    </a:lnTo>
                    <a:lnTo>
                      <a:pt x="116" y="912"/>
                    </a:lnTo>
                    <a:lnTo>
                      <a:pt x="63" y="785"/>
                    </a:lnTo>
                    <a:lnTo>
                      <a:pt x="0" y="664"/>
                    </a:lnTo>
                    <a:lnTo>
                      <a:pt x="1175" y="0"/>
                    </a:lnTo>
                    <a:close/>
                  </a:path>
                </a:pathLst>
              </a:custGeom>
              <a:gradFill>
                <a:gsLst>
                  <a:gs pos="86000">
                    <a:schemeClr val="bg1">
                      <a:lumMod val="85000"/>
                    </a:schemeClr>
                  </a:gs>
                  <a:gs pos="17000">
                    <a:schemeClr val="bg1">
                      <a:lumMod val="95000"/>
                    </a:schemeClr>
                  </a:gs>
                </a:gsLst>
                <a:lin ang="150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1" name="Freeform 70"/>
              <p:cNvSpPr>
                <a:spLocks/>
              </p:cNvSpPr>
              <p:nvPr/>
            </p:nvSpPr>
            <p:spPr bwMode="auto">
              <a:xfrm>
                <a:off x="6598491" y="1953409"/>
                <a:ext cx="981983" cy="983030"/>
              </a:xfrm>
              <a:custGeom>
                <a:avLst/>
                <a:gdLst>
                  <a:gd name="T0" fmla="*/ 681 w 1878"/>
                  <a:gd name="T1" fmla="*/ 0 h 1879"/>
                  <a:gd name="T2" fmla="*/ 843 w 1878"/>
                  <a:gd name="T3" fmla="*/ 103 h 1879"/>
                  <a:gd name="T4" fmla="*/ 999 w 1878"/>
                  <a:gd name="T5" fmla="*/ 214 h 1879"/>
                  <a:gd name="T6" fmla="*/ 1150 w 1878"/>
                  <a:gd name="T7" fmla="*/ 332 h 1879"/>
                  <a:gd name="T8" fmla="*/ 1292 w 1878"/>
                  <a:gd name="T9" fmla="*/ 461 h 1879"/>
                  <a:gd name="T10" fmla="*/ 1427 w 1878"/>
                  <a:gd name="T11" fmla="*/ 597 h 1879"/>
                  <a:gd name="T12" fmla="*/ 1551 w 1878"/>
                  <a:gd name="T13" fmla="*/ 742 h 1879"/>
                  <a:gd name="T14" fmla="*/ 1670 w 1878"/>
                  <a:gd name="T15" fmla="*/ 892 h 1879"/>
                  <a:gd name="T16" fmla="*/ 1779 w 1878"/>
                  <a:gd name="T17" fmla="*/ 1050 h 1879"/>
                  <a:gd name="T18" fmla="*/ 1878 w 1878"/>
                  <a:gd name="T19" fmla="*/ 1215 h 1879"/>
                  <a:gd name="T20" fmla="*/ 703 w 1878"/>
                  <a:gd name="T21" fmla="*/ 1879 h 1879"/>
                  <a:gd name="T22" fmla="*/ 626 w 1878"/>
                  <a:gd name="T23" fmla="*/ 1757 h 1879"/>
                  <a:gd name="T24" fmla="*/ 540 w 1878"/>
                  <a:gd name="T25" fmla="*/ 1640 h 1879"/>
                  <a:gd name="T26" fmla="*/ 447 w 1878"/>
                  <a:gd name="T27" fmla="*/ 1529 h 1879"/>
                  <a:gd name="T28" fmla="*/ 347 w 1878"/>
                  <a:gd name="T29" fmla="*/ 1426 h 1879"/>
                  <a:gd name="T30" fmla="*/ 238 w 1878"/>
                  <a:gd name="T31" fmla="*/ 1333 h 1879"/>
                  <a:gd name="T32" fmla="*/ 123 w 1878"/>
                  <a:gd name="T33" fmla="*/ 1246 h 1879"/>
                  <a:gd name="T34" fmla="*/ 0 w 1878"/>
                  <a:gd name="T35" fmla="*/ 1169 h 1879"/>
                  <a:gd name="T36" fmla="*/ 681 w 1878"/>
                  <a:gd name="T37" fmla="*/ 0 h 1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8" h="1879">
                    <a:moveTo>
                      <a:pt x="681" y="0"/>
                    </a:moveTo>
                    <a:lnTo>
                      <a:pt x="843" y="103"/>
                    </a:lnTo>
                    <a:lnTo>
                      <a:pt x="999" y="214"/>
                    </a:lnTo>
                    <a:lnTo>
                      <a:pt x="1150" y="332"/>
                    </a:lnTo>
                    <a:lnTo>
                      <a:pt x="1292" y="461"/>
                    </a:lnTo>
                    <a:lnTo>
                      <a:pt x="1427" y="597"/>
                    </a:lnTo>
                    <a:lnTo>
                      <a:pt x="1551" y="742"/>
                    </a:lnTo>
                    <a:lnTo>
                      <a:pt x="1670" y="892"/>
                    </a:lnTo>
                    <a:lnTo>
                      <a:pt x="1779" y="1050"/>
                    </a:lnTo>
                    <a:lnTo>
                      <a:pt x="1878" y="1215"/>
                    </a:lnTo>
                    <a:lnTo>
                      <a:pt x="703" y="1879"/>
                    </a:lnTo>
                    <a:lnTo>
                      <a:pt x="626" y="1757"/>
                    </a:lnTo>
                    <a:lnTo>
                      <a:pt x="540" y="1640"/>
                    </a:lnTo>
                    <a:lnTo>
                      <a:pt x="447" y="1529"/>
                    </a:lnTo>
                    <a:lnTo>
                      <a:pt x="347" y="1426"/>
                    </a:lnTo>
                    <a:lnTo>
                      <a:pt x="238" y="1333"/>
                    </a:lnTo>
                    <a:lnTo>
                      <a:pt x="123" y="1246"/>
                    </a:lnTo>
                    <a:lnTo>
                      <a:pt x="0" y="1169"/>
                    </a:lnTo>
                    <a:lnTo>
                      <a:pt x="681" y="0"/>
                    </a:lnTo>
                    <a:close/>
                  </a:path>
                </a:pathLst>
              </a:custGeom>
              <a:gradFill>
                <a:gsLst>
                  <a:gs pos="86000">
                    <a:schemeClr val="bg1">
                      <a:lumMod val="85000"/>
                    </a:schemeClr>
                  </a:gs>
                  <a:gs pos="17000">
                    <a:schemeClr val="bg1">
                      <a:lumMod val="95000"/>
                    </a:schemeClr>
                  </a:gs>
                </a:gsLst>
                <a:lin ang="150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2" name="Freeform 71"/>
              <p:cNvSpPr>
                <a:spLocks/>
              </p:cNvSpPr>
              <p:nvPr/>
            </p:nvSpPr>
            <p:spPr bwMode="auto">
              <a:xfrm>
                <a:off x="4608352" y="3920516"/>
                <a:ext cx="983030" cy="983030"/>
              </a:xfrm>
              <a:custGeom>
                <a:avLst/>
                <a:gdLst>
                  <a:gd name="T0" fmla="*/ 1177 w 1880"/>
                  <a:gd name="T1" fmla="*/ 0 h 1879"/>
                  <a:gd name="T2" fmla="*/ 1253 w 1880"/>
                  <a:gd name="T3" fmla="*/ 124 h 1879"/>
                  <a:gd name="T4" fmla="*/ 1338 w 1880"/>
                  <a:gd name="T5" fmla="*/ 241 h 1879"/>
                  <a:gd name="T6" fmla="*/ 1431 w 1880"/>
                  <a:gd name="T7" fmla="*/ 350 h 1879"/>
                  <a:gd name="T8" fmla="*/ 1531 w 1880"/>
                  <a:gd name="T9" fmla="*/ 453 h 1879"/>
                  <a:gd name="T10" fmla="*/ 1640 w 1880"/>
                  <a:gd name="T11" fmla="*/ 548 h 1879"/>
                  <a:gd name="T12" fmla="*/ 1757 w 1880"/>
                  <a:gd name="T13" fmla="*/ 635 h 1879"/>
                  <a:gd name="T14" fmla="*/ 1880 w 1880"/>
                  <a:gd name="T15" fmla="*/ 712 h 1879"/>
                  <a:gd name="T16" fmla="*/ 1199 w 1880"/>
                  <a:gd name="T17" fmla="*/ 1879 h 1879"/>
                  <a:gd name="T18" fmla="*/ 1035 w 1880"/>
                  <a:gd name="T19" fmla="*/ 1778 h 1879"/>
                  <a:gd name="T20" fmla="*/ 879 w 1880"/>
                  <a:gd name="T21" fmla="*/ 1667 h 1879"/>
                  <a:gd name="T22" fmla="*/ 730 w 1880"/>
                  <a:gd name="T23" fmla="*/ 1547 h 1879"/>
                  <a:gd name="T24" fmla="*/ 588 w 1880"/>
                  <a:gd name="T25" fmla="*/ 1418 h 1879"/>
                  <a:gd name="T26" fmla="*/ 453 w 1880"/>
                  <a:gd name="T27" fmla="*/ 1283 h 1879"/>
                  <a:gd name="T28" fmla="*/ 327 w 1880"/>
                  <a:gd name="T29" fmla="*/ 1139 h 1879"/>
                  <a:gd name="T30" fmla="*/ 210 w 1880"/>
                  <a:gd name="T31" fmla="*/ 987 h 1879"/>
                  <a:gd name="T32" fmla="*/ 101 w 1880"/>
                  <a:gd name="T33" fmla="*/ 830 h 1879"/>
                  <a:gd name="T34" fmla="*/ 0 w 1880"/>
                  <a:gd name="T35" fmla="*/ 664 h 1879"/>
                  <a:gd name="T36" fmla="*/ 1177 w 1880"/>
                  <a:gd name="T37" fmla="*/ 0 h 1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80" h="1879">
                    <a:moveTo>
                      <a:pt x="1177" y="0"/>
                    </a:moveTo>
                    <a:lnTo>
                      <a:pt x="1253" y="124"/>
                    </a:lnTo>
                    <a:lnTo>
                      <a:pt x="1338" y="241"/>
                    </a:lnTo>
                    <a:lnTo>
                      <a:pt x="1431" y="350"/>
                    </a:lnTo>
                    <a:lnTo>
                      <a:pt x="1531" y="453"/>
                    </a:lnTo>
                    <a:lnTo>
                      <a:pt x="1640" y="548"/>
                    </a:lnTo>
                    <a:lnTo>
                      <a:pt x="1757" y="635"/>
                    </a:lnTo>
                    <a:lnTo>
                      <a:pt x="1880" y="712"/>
                    </a:lnTo>
                    <a:lnTo>
                      <a:pt x="1199" y="1879"/>
                    </a:lnTo>
                    <a:lnTo>
                      <a:pt x="1035" y="1778"/>
                    </a:lnTo>
                    <a:lnTo>
                      <a:pt x="879" y="1667"/>
                    </a:lnTo>
                    <a:lnTo>
                      <a:pt x="730" y="1547"/>
                    </a:lnTo>
                    <a:lnTo>
                      <a:pt x="588" y="1418"/>
                    </a:lnTo>
                    <a:lnTo>
                      <a:pt x="453" y="1283"/>
                    </a:lnTo>
                    <a:lnTo>
                      <a:pt x="327" y="1139"/>
                    </a:lnTo>
                    <a:lnTo>
                      <a:pt x="210" y="987"/>
                    </a:lnTo>
                    <a:lnTo>
                      <a:pt x="101" y="830"/>
                    </a:lnTo>
                    <a:lnTo>
                      <a:pt x="0" y="664"/>
                    </a:lnTo>
                    <a:lnTo>
                      <a:pt x="1177" y="0"/>
                    </a:lnTo>
                    <a:close/>
                  </a:path>
                </a:pathLst>
              </a:custGeom>
              <a:gradFill>
                <a:gsLst>
                  <a:gs pos="69000">
                    <a:schemeClr val="bg1">
                      <a:lumMod val="85000"/>
                    </a:schemeClr>
                  </a:gs>
                  <a:gs pos="48000">
                    <a:schemeClr val="bg1">
                      <a:lumMod val="95000"/>
                    </a:schemeClr>
                  </a:gs>
                </a:gsLst>
                <a:lin ang="30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3" name="Freeform 72"/>
              <p:cNvSpPr>
                <a:spLocks/>
              </p:cNvSpPr>
              <p:nvPr/>
            </p:nvSpPr>
            <p:spPr bwMode="auto">
              <a:xfrm>
                <a:off x="6591163" y="3920516"/>
                <a:ext cx="990358" cy="990358"/>
              </a:xfrm>
              <a:custGeom>
                <a:avLst/>
                <a:gdLst>
                  <a:gd name="T0" fmla="*/ 716 w 1893"/>
                  <a:gd name="T1" fmla="*/ 0 h 1893"/>
                  <a:gd name="T2" fmla="*/ 1893 w 1893"/>
                  <a:gd name="T3" fmla="*/ 664 h 1893"/>
                  <a:gd name="T4" fmla="*/ 1802 w 1893"/>
                  <a:gd name="T5" fmla="*/ 815 h 1893"/>
                  <a:gd name="T6" fmla="*/ 1703 w 1893"/>
                  <a:gd name="T7" fmla="*/ 961 h 1893"/>
                  <a:gd name="T8" fmla="*/ 1596 w 1893"/>
                  <a:gd name="T9" fmla="*/ 1099 h 1893"/>
                  <a:gd name="T10" fmla="*/ 1483 w 1893"/>
                  <a:gd name="T11" fmla="*/ 1234 h 1893"/>
                  <a:gd name="T12" fmla="*/ 1365 w 1893"/>
                  <a:gd name="T13" fmla="*/ 1361 h 1893"/>
                  <a:gd name="T14" fmla="*/ 1238 w 1893"/>
                  <a:gd name="T15" fmla="*/ 1481 h 1893"/>
                  <a:gd name="T16" fmla="*/ 1103 w 1893"/>
                  <a:gd name="T17" fmla="*/ 1596 h 1893"/>
                  <a:gd name="T18" fmla="*/ 965 w 1893"/>
                  <a:gd name="T19" fmla="*/ 1701 h 1893"/>
                  <a:gd name="T20" fmla="*/ 821 w 1893"/>
                  <a:gd name="T21" fmla="*/ 1802 h 1893"/>
                  <a:gd name="T22" fmla="*/ 670 w 1893"/>
                  <a:gd name="T23" fmla="*/ 1893 h 1893"/>
                  <a:gd name="T24" fmla="*/ 0 w 1893"/>
                  <a:gd name="T25" fmla="*/ 720 h 1893"/>
                  <a:gd name="T26" fmla="*/ 124 w 1893"/>
                  <a:gd name="T27" fmla="*/ 641 h 1893"/>
                  <a:gd name="T28" fmla="*/ 243 w 1893"/>
                  <a:gd name="T29" fmla="*/ 554 h 1893"/>
                  <a:gd name="T30" fmla="*/ 354 w 1893"/>
                  <a:gd name="T31" fmla="*/ 459 h 1893"/>
                  <a:gd name="T32" fmla="*/ 457 w 1893"/>
                  <a:gd name="T33" fmla="*/ 356 h 1893"/>
                  <a:gd name="T34" fmla="*/ 551 w 1893"/>
                  <a:gd name="T35" fmla="*/ 243 h 1893"/>
                  <a:gd name="T36" fmla="*/ 639 w 1893"/>
                  <a:gd name="T37" fmla="*/ 124 h 1893"/>
                  <a:gd name="T38" fmla="*/ 716 w 1893"/>
                  <a:gd name="T39" fmla="*/ 0 h 1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93" h="1893">
                    <a:moveTo>
                      <a:pt x="716" y="0"/>
                    </a:moveTo>
                    <a:lnTo>
                      <a:pt x="1893" y="664"/>
                    </a:lnTo>
                    <a:lnTo>
                      <a:pt x="1802" y="815"/>
                    </a:lnTo>
                    <a:lnTo>
                      <a:pt x="1703" y="961"/>
                    </a:lnTo>
                    <a:lnTo>
                      <a:pt x="1596" y="1099"/>
                    </a:lnTo>
                    <a:lnTo>
                      <a:pt x="1483" y="1234"/>
                    </a:lnTo>
                    <a:lnTo>
                      <a:pt x="1365" y="1361"/>
                    </a:lnTo>
                    <a:lnTo>
                      <a:pt x="1238" y="1481"/>
                    </a:lnTo>
                    <a:lnTo>
                      <a:pt x="1103" y="1596"/>
                    </a:lnTo>
                    <a:lnTo>
                      <a:pt x="965" y="1701"/>
                    </a:lnTo>
                    <a:lnTo>
                      <a:pt x="821" y="1802"/>
                    </a:lnTo>
                    <a:lnTo>
                      <a:pt x="670" y="1893"/>
                    </a:lnTo>
                    <a:lnTo>
                      <a:pt x="0" y="720"/>
                    </a:lnTo>
                    <a:lnTo>
                      <a:pt x="124" y="641"/>
                    </a:lnTo>
                    <a:lnTo>
                      <a:pt x="243" y="554"/>
                    </a:lnTo>
                    <a:lnTo>
                      <a:pt x="354" y="459"/>
                    </a:lnTo>
                    <a:lnTo>
                      <a:pt x="457" y="356"/>
                    </a:lnTo>
                    <a:lnTo>
                      <a:pt x="551" y="243"/>
                    </a:lnTo>
                    <a:lnTo>
                      <a:pt x="639" y="124"/>
                    </a:lnTo>
                    <a:lnTo>
                      <a:pt x="716" y="0"/>
                    </a:lnTo>
                    <a:close/>
                  </a:path>
                </a:pathLst>
              </a:custGeom>
              <a:gradFill>
                <a:gsLst>
                  <a:gs pos="87000">
                    <a:schemeClr val="bg1">
                      <a:lumMod val="85000"/>
                    </a:schemeClr>
                  </a:gs>
                  <a:gs pos="24000">
                    <a:schemeClr val="bg1">
                      <a:lumMod val="95000"/>
                    </a:schemeClr>
                  </a:gs>
                </a:gsLst>
                <a:lin ang="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4" name="Freeform 73"/>
              <p:cNvSpPr>
                <a:spLocks/>
              </p:cNvSpPr>
              <p:nvPr/>
            </p:nvSpPr>
            <p:spPr bwMode="auto">
              <a:xfrm>
                <a:off x="6965949" y="3428477"/>
                <a:ext cx="835419" cy="839606"/>
              </a:xfrm>
              <a:custGeom>
                <a:avLst/>
                <a:gdLst>
                  <a:gd name="T0" fmla="*/ 247 w 1596"/>
                  <a:gd name="T1" fmla="*/ 0 h 1604"/>
                  <a:gd name="T2" fmla="*/ 1596 w 1596"/>
                  <a:gd name="T3" fmla="*/ 0 h 1604"/>
                  <a:gd name="T4" fmla="*/ 1592 w 1596"/>
                  <a:gd name="T5" fmla="*/ 194 h 1604"/>
                  <a:gd name="T6" fmla="*/ 1574 w 1596"/>
                  <a:gd name="T7" fmla="*/ 384 h 1604"/>
                  <a:gd name="T8" fmla="*/ 1547 w 1596"/>
                  <a:gd name="T9" fmla="*/ 570 h 1604"/>
                  <a:gd name="T10" fmla="*/ 1509 w 1596"/>
                  <a:gd name="T11" fmla="*/ 754 h 1604"/>
                  <a:gd name="T12" fmla="*/ 1462 w 1596"/>
                  <a:gd name="T13" fmla="*/ 932 h 1604"/>
                  <a:gd name="T14" fmla="*/ 1404 w 1596"/>
                  <a:gd name="T15" fmla="*/ 1108 h 1604"/>
                  <a:gd name="T16" fmla="*/ 1337 w 1596"/>
                  <a:gd name="T17" fmla="*/ 1278 h 1604"/>
                  <a:gd name="T18" fmla="*/ 1262 w 1596"/>
                  <a:gd name="T19" fmla="*/ 1444 h 1604"/>
                  <a:gd name="T20" fmla="*/ 1177 w 1596"/>
                  <a:gd name="T21" fmla="*/ 1604 h 1604"/>
                  <a:gd name="T22" fmla="*/ 0 w 1596"/>
                  <a:gd name="T23" fmla="*/ 940 h 1604"/>
                  <a:gd name="T24" fmla="*/ 63 w 1596"/>
                  <a:gd name="T25" fmla="*/ 819 h 1604"/>
                  <a:gd name="T26" fmla="*/ 116 w 1596"/>
                  <a:gd name="T27" fmla="*/ 692 h 1604"/>
                  <a:gd name="T28" fmla="*/ 162 w 1596"/>
                  <a:gd name="T29" fmla="*/ 562 h 1604"/>
                  <a:gd name="T30" fmla="*/ 199 w 1596"/>
                  <a:gd name="T31" fmla="*/ 425 h 1604"/>
                  <a:gd name="T32" fmla="*/ 225 w 1596"/>
                  <a:gd name="T33" fmla="*/ 287 h 1604"/>
                  <a:gd name="T34" fmla="*/ 241 w 1596"/>
                  <a:gd name="T35" fmla="*/ 146 h 1604"/>
                  <a:gd name="T36" fmla="*/ 247 w 1596"/>
                  <a:gd name="T37" fmla="*/ 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6" h="1604">
                    <a:moveTo>
                      <a:pt x="247" y="0"/>
                    </a:moveTo>
                    <a:lnTo>
                      <a:pt x="1596" y="0"/>
                    </a:lnTo>
                    <a:lnTo>
                      <a:pt x="1592" y="194"/>
                    </a:lnTo>
                    <a:lnTo>
                      <a:pt x="1574" y="384"/>
                    </a:lnTo>
                    <a:lnTo>
                      <a:pt x="1547" y="570"/>
                    </a:lnTo>
                    <a:lnTo>
                      <a:pt x="1509" y="754"/>
                    </a:lnTo>
                    <a:lnTo>
                      <a:pt x="1462" y="932"/>
                    </a:lnTo>
                    <a:lnTo>
                      <a:pt x="1404" y="1108"/>
                    </a:lnTo>
                    <a:lnTo>
                      <a:pt x="1337" y="1278"/>
                    </a:lnTo>
                    <a:lnTo>
                      <a:pt x="1262" y="1444"/>
                    </a:lnTo>
                    <a:lnTo>
                      <a:pt x="1177" y="1604"/>
                    </a:lnTo>
                    <a:lnTo>
                      <a:pt x="0" y="940"/>
                    </a:lnTo>
                    <a:lnTo>
                      <a:pt x="63" y="819"/>
                    </a:lnTo>
                    <a:lnTo>
                      <a:pt x="116" y="692"/>
                    </a:lnTo>
                    <a:lnTo>
                      <a:pt x="162" y="562"/>
                    </a:lnTo>
                    <a:lnTo>
                      <a:pt x="199" y="425"/>
                    </a:lnTo>
                    <a:lnTo>
                      <a:pt x="225" y="287"/>
                    </a:lnTo>
                    <a:lnTo>
                      <a:pt x="241" y="146"/>
                    </a:lnTo>
                    <a:lnTo>
                      <a:pt x="247" y="0"/>
                    </a:lnTo>
                    <a:close/>
                  </a:path>
                </a:pathLst>
              </a:custGeom>
              <a:gradFill>
                <a:gsLst>
                  <a:gs pos="86000">
                    <a:schemeClr val="bg1">
                      <a:lumMod val="85000"/>
                    </a:schemeClr>
                  </a:gs>
                  <a:gs pos="17000">
                    <a:schemeClr val="bg1">
                      <a:lumMod val="95000"/>
                    </a:schemeClr>
                  </a:gs>
                </a:gsLst>
                <a:lin ang="168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5" name="Freeform 74"/>
              <p:cNvSpPr>
                <a:spLocks/>
              </p:cNvSpPr>
              <p:nvPr/>
            </p:nvSpPr>
            <p:spPr bwMode="auto">
              <a:xfrm>
                <a:off x="5235439" y="4293208"/>
                <a:ext cx="859497" cy="842747"/>
              </a:xfrm>
              <a:custGeom>
                <a:avLst/>
                <a:gdLst>
                  <a:gd name="T0" fmla="*/ 681 w 1642"/>
                  <a:gd name="T1" fmla="*/ 0 h 1610"/>
                  <a:gd name="T2" fmla="*/ 803 w 1642"/>
                  <a:gd name="T3" fmla="*/ 65 h 1610"/>
                  <a:gd name="T4" fmla="*/ 932 w 1642"/>
                  <a:gd name="T5" fmla="*/ 122 h 1610"/>
                  <a:gd name="T6" fmla="*/ 1066 w 1642"/>
                  <a:gd name="T7" fmla="*/ 172 h 1610"/>
                  <a:gd name="T8" fmla="*/ 1205 w 1642"/>
                  <a:gd name="T9" fmla="*/ 209 h 1610"/>
                  <a:gd name="T10" fmla="*/ 1347 w 1642"/>
                  <a:gd name="T11" fmla="*/ 237 h 1610"/>
                  <a:gd name="T12" fmla="*/ 1492 w 1642"/>
                  <a:gd name="T13" fmla="*/ 253 h 1610"/>
                  <a:gd name="T14" fmla="*/ 1642 w 1642"/>
                  <a:gd name="T15" fmla="*/ 259 h 1610"/>
                  <a:gd name="T16" fmla="*/ 1642 w 1642"/>
                  <a:gd name="T17" fmla="*/ 259 h 1610"/>
                  <a:gd name="T18" fmla="*/ 1642 w 1642"/>
                  <a:gd name="T19" fmla="*/ 1610 h 1610"/>
                  <a:gd name="T20" fmla="*/ 1642 w 1642"/>
                  <a:gd name="T21" fmla="*/ 1610 h 1610"/>
                  <a:gd name="T22" fmla="*/ 1444 w 1642"/>
                  <a:gd name="T23" fmla="*/ 1604 h 1610"/>
                  <a:gd name="T24" fmla="*/ 1248 w 1642"/>
                  <a:gd name="T25" fmla="*/ 1586 h 1610"/>
                  <a:gd name="T26" fmla="*/ 1056 w 1642"/>
                  <a:gd name="T27" fmla="*/ 1559 h 1610"/>
                  <a:gd name="T28" fmla="*/ 869 w 1642"/>
                  <a:gd name="T29" fmla="*/ 1517 h 1610"/>
                  <a:gd name="T30" fmla="*/ 687 w 1642"/>
                  <a:gd name="T31" fmla="*/ 1468 h 1610"/>
                  <a:gd name="T32" fmla="*/ 507 w 1642"/>
                  <a:gd name="T33" fmla="*/ 1406 h 1610"/>
                  <a:gd name="T34" fmla="*/ 332 w 1642"/>
                  <a:gd name="T35" fmla="*/ 1337 h 1610"/>
                  <a:gd name="T36" fmla="*/ 162 w 1642"/>
                  <a:gd name="T37" fmla="*/ 1256 h 1610"/>
                  <a:gd name="T38" fmla="*/ 0 w 1642"/>
                  <a:gd name="T39" fmla="*/ 1167 h 1610"/>
                  <a:gd name="T40" fmla="*/ 681 w 1642"/>
                  <a:gd name="T41" fmla="*/ 0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42" h="1610">
                    <a:moveTo>
                      <a:pt x="681" y="0"/>
                    </a:moveTo>
                    <a:lnTo>
                      <a:pt x="803" y="65"/>
                    </a:lnTo>
                    <a:lnTo>
                      <a:pt x="932" y="122"/>
                    </a:lnTo>
                    <a:lnTo>
                      <a:pt x="1066" y="172"/>
                    </a:lnTo>
                    <a:lnTo>
                      <a:pt x="1205" y="209"/>
                    </a:lnTo>
                    <a:lnTo>
                      <a:pt x="1347" y="237"/>
                    </a:lnTo>
                    <a:lnTo>
                      <a:pt x="1492" y="253"/>
                    </a:lnTo>
                    <a:lnTo>
                      <a:pt x="1642" y="259"/>
                    </a:lnTo>
                    <a:lnTo>
                      <a:pt x="1642" y="259"/>
                    </a:lnTo>
                    <a:lnTo>
                      <a:pt x="1642" y="1610"/>
                    </a:lnTo>
                    <a:lnTo>
                      <a:pt x="1642" y="1610"/>
                    </a:lnTo>
                    <a:lnTo>
                      <a:pt x="1444" y="1604"/>
                    </a:lnTo>
                    <a:lnTo>
                      <a:pt x="1248" y="1586"/>
                    </a:lnTo>
                    <a:lnTo>
                      <a:pt x="1056" y="1559"/>
                    </a:lnTo>
                    <a:lnTo>
                      <a:pt x="869" y="1517"/>
                    </a:lnTo>
                    <a:lnTo>
                      <a:pt x="687" y="1468"/>
                    </a:lnTo>
                    <a:lnTo>
                      <a:pt x="507" y="1406"/>
                    </a:lnTo>
                    <a:lnTo>
                      <a:pt x="332" y="1337"/>
                    </a:lnTo>
                    <a:lnTo>
                      <a:pt x="162" y="1256"/>
                    </a:lnTo>
                    <a:lnTo>
                      <a:pt x="0" y="1167"/>
                    </a:lnTo>
                    <a:lnTo>
                      <a:pt x="681" y="0"/>
                    </a:lnTo>
                    <a:close/>
                  </a:path>
                </a:pathLst>
              </a:custGeom>
              <a:gradFill>
                <a:gsLst>
                  <a:gs pos="87000">
                    <a:schemeClr val="bg1">
                      <a:lumMod val="85000"/>
                    </a:schemeClr>
                  </a:gs>
                  <a:gs pos="24000">
                    <a:schemeClr val="bg1">
                      <a:lumMod val="95000"/>
                    </a:schemeClr>
                  </a:gs>
                </a:gsLst>
                <a:lin ang="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p:txBody>
          </p:sp>
          <p:sp>
            <p:nvSpPr>
              <p:cNvPr id="76" name="Freeform 75"/>
              <p:cNvSpPr>
                <a:spLocks/>
              </p:cNvSpPr>
              <p:nvPr/>
            </p:nvSpPr>
            <p:spPr bwMode="auto">
              <a:xfrm>
                <a:off x="6094937" y="4297396"/>
                <a:ext cx="846935" cy="838559"/>
              </a:xfrm>
              <a:custGeom>
                <a:avLst/>
                <a:gdLst>
                  <a:gd name="T0" fmla="*/ 948 w 1618"/>
                  <a:gd name="T1" fmla="*/ 0 h 1602"/>
                  <a:gd name="T2" fmla="*/ 1618 w 1618"/>
                  <a:gd name="T3" fmla="*/ 1173 h 1602"/>
                  <a:gd name="T4" fmla="*/ 1456 w 1618"/>
                  <a:gd name="T5" fmla="*/ 1260 h 1602"/>
                  <a:gd name="T6" fmla="*/ 1290 w 1618"/>
                  <a:gd name="T7" fmla="*/ 1337 h 1602"/>
                  <a:gd name="T8" fmla="*/ 1118 w 1618"/>
                  <a:gd name="T9" fmla="*/ 1406 h 1602"/>
                  <a:gd name="T10" fmla="*/ 942 w 1618"/>
                  <a:gd name="T11" fmla="*/ 1464 h 1602"/>
                  <a:gd name="T12" fmla="*/ 760 w 1618"/>
                  <a:gd name="T13" fmla="*/ 1513 h 1602"/>
                  <a:gd name="T14" fmla="*/ 576 w 1618"/>
                  <a:gd name="T15" fmla="*/ 1551 h 1602"/>
                  <a:gd name="T16" fmla="*/ 386 w 1618"/>
                  <a:gd name="T17" fmla="*/ 1580 h 1602"/>
                  <a:gd name="T18" fmla="*/ 194 w 1618"/>
                  <a:gd name="T19" fmla="*/ 1596 h 1602"/>
                  <a:gd name="T20" fmla="*/ 0 w 1618"/>
                  <a:gd name="T21" fmla="*/ 1602 h 1602"/>
                  <a:gd name="T22" fmla="*/ 0 w 1618"/>
                  <a:gd name="T23" fmla="*/ 251 h 1602"/>
                  <a:gd name="T24" fmla="*/ 146 w 1618"/>
                  <a:gd name="T25" fmla="*/ 245 h 1602"/>
                  <a:gd name="T26" fmla="*/ 289 w 1618"/>
                  <a:gd name="T27" fmla="*/ 229 h 1602"/>
                  <a:gd name="T28" fmla="*/ 429 w 1618"/>
                  <a:gd name="T29" fmla="*/ 203 h 1602"/>
                  <a:gd name="T30" fmla="*/ 566 w 1618"/>
                  <a:gd name="T31" fmla="*/ 166 h 1602"/>
                  <a:gd name="T32" fmla="*/ 698 w 1618"/>
                  <a:gd name="T33" fmla="*/ 120 h 1602"/>
                  <a:gd name="T34" fmla="*/ 825 w 1618"/>
                  <a:gd name="T35" fmla="*/ 63 h 1602"/>
                  <a:gd name="T36" fmla="*/ 948 w 1618"/>
                  <a:gd name="T37" fmla="*/ 0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18" h="1602">
                    <a:moveTo>
                      <a:pt x="948" y="0"/>
                    </a:moveTo>
                    <a:lnTo>
                      <a:pt x="1618" y="1173"/>
                    </a:lnTo>
                    <a:lnTo>
                      <a:pt x="1456" y="1260"/>
                    </a:lnTo>
                    <a:lnTo>
                      <a:pt x="1290" y="1337"/>
                    </a:lnTo>
                    <a:lnTo>
                      <a:pt x="1118" y="1406"/>
                    </a:lnTo>
                    <a:lnTo>
                      <a:pt x="942" y="1464"/>
                    </a:lnTo>
                    <a:lnTo>
                      <a:pt x="760" y="1513"/>
                    </a:lnTo>
                    <a:lnTo>
                      <a:pt x="576" y="1551"/>
                    </a:lnTo>
                    <a:lnTo>
                      <a:pt x="386" y="1580"/>
                    </a:lnTo>
                    <a:lnTo>
                      <a:pt x="194" y="1596"/>
                    </a:lnTo>
                    <a:lnTo>
                      <a:pt x="0" y="1602"/>
                    </a:lnTo>
                    <a:lnTo>
                      <a:pt x="0" y="251"/>
                    </a:lnTo>
                    <a:lnTo>
                      <a:pt x="146" y="245"/>
                    </a:lnTo>
                    <a:lnTo>
                      <a:pt x="289" y="229"/>
                    </a:lnTo>
                    <a:lnTo>
                      <a:pt x="429" y="203"/>
                    </a:lnTo>
                    <a:lnTo>
                      <a:pt x="566" y="166"/>
                    </a:lnTo>
                    <a:lnTo>
                      <a:pt x="698" y="120"/>
                    </a:lnTo>
                    <a:lnTo>
                      <a:pt x="825" y="63"/>
                    </a:lnTo>
                    <a:lnTo>
                      <a:pt x="948" y="0"/>
                    </a:lnTo>
                    <a:close/>
                  </a:path>
                </a:pathLst>
              </a:custGeom>
              <a:gradFill>
                <a:gsLst>
                  <a:gs pos="87000">
                    <a:schemeClr val="bg1">
                      <a:lumMod val="85000"/>
                    </a:schemeClr>
                  </a:gs>
                  <a:gs pos="24000">
                    <a:schemeClr val="bg1">
                      <a:lumMod val="95000"/>
                    </a:schemeClr>
                  </a:gs>
                </a:gsLst>
                <a:lin ang="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grpSp>
        <p:sp>
          <p:nvSpPr>
            <p:cNvPr id="119" name="Freeform 63"/>
            <p:cNvSpPr>
              <a:spLocks noEditPoints="1"/>
            </p:cNvSpPr>
            <p:nvPr/>
          </p:nvSpPr>
          <p:spPr bwMode="auto">
            <a:xfrm>
              <a:off x="4599864" y="2959952"/>
              <a:ext cx="352651" cy="280206"/>
            </a:xfrm>
            <a:custGeom>
              <a:avLst/>
              <a:gdLst>
                <a:gd name="T0" fmla="*/ 3526 w 3526"/>
                <a:gd name="T1" fmla="*/ 2803 h 2803"/>
                <a:gd name="T2" fmla="*/ 0 w 3526"/>
                <a:gd name="T3" fmla="*/ 1227 h 2803"/>
                <a:gd name="T4" fmla="*/ 69 w 3526"/>
                <a:gd name="T5" fmla="*/ 1291 h 2803"/>
                <a:gd name="T6" fmla="*/ 150 w 3526"/>
                <a:gd name="T7" fmla="*/ 1340 h 2803"/>
                <a:gd name="T8" fmla="*/ 241 w 3526"/>
                <a:gd name="T9" fmla="*/ 1372 h 2803"/>
                <a:gd name="T10" fmla="*/ 341 w 3526"/>
                <a:gd name="T11" fmla="*/ 1382 h 2803"/>
                <a:gd name="T12" fmla="*/ 513 w 3526"/>
                <a:gd name="T13" fmla="*/ 1663 h 2803"/>
                <a:gd name="T14" fmla="*/ 921 w 3526"/>
                <a:gd name="T15" fmla="*/ 1382 h 2803"/>
                <a:gd name="T16" fmla="*/ 2494 w 3526"/>
                <a:gd name="T17" fmla="*/ 1663 h 2803"/>
                <a:gd name="T18" fmla="*/ 2900 w 3526"/>
                <a:gd name="T19" fmla="*/ 1382 h 2803"/>
                <a:gd name="T20" fmla="*/ 3223 w 3526"/>
                <a:gd name="T21" fmla="*/ 1379 h 2803"/>
                <a:gd name="T22" fmla="*/ 3323 w 3526"/>
                <a:gd name="T23" fmla="*/ 1355 h 2803"/>
                <a:gd name="T24" fmla="*/ 3414 w 3526"/>
                <a:gd name="T25" fmla="*/ 1309 h 2803"/>
                <a:gd name="T26" fmla="*/ 3492 w 3526"/>
                <a:gd name="T27" fmla="*/ 1245 h 2803"/>
                <a:gd name="T28" fmla="*/ 1317 w 3526"/>
                <a:gd name="T29" fmla="*/ 133 h 2803"/>
                <a:gd name="T30" fmla="*/ 2217 w 3526"/>
                <a:gd name="T31" fmla="*/ 350 h 2803"/>
                <a:gd name="T32" fmla="*/ 1317 w 3526"/>
                <a:gd name="T33" fmla="*/ 133 h 2803"/>
                <a:gd name="T34" fmla="*/ 2284 w 3526"/>
                <a:gd name="T35" fmla="*/ 0 h 2803"/>
                <a:gd name="T36" fmla="*/ 2317 w 3526"/>
                <a:gd name="T37" fmla="*/ 9 h 2803"/>
                <a:gd name="T38" fmla="*/ 2341 w 3526"/>
                <a:gd name="T39" fmla="*/ 32 h 2803"/>
                <a:gd name="T40" fmla="*/ 2350 w 3526"/>
                <a:gd name="T41" fmla="*/ 67 h 2803"/>
                <a:gd name="T42" fmla="*/ 3526 w 3526"/>
                <a:gd name="T43" fmla="*/ 350 h 2803"/>
                <a:gd name="T44" fmla="*/ 3514 w 3526"/>
                <a:gd name="T45" fmla="*/ 1041 h 2803"/>
                <a:gd name="T46" fmla="*/ 3476 w 3526"/>
                <a:gd name="T47" fmla="*/ 1123 h 2803"/>
                <a:gd name="T48" fmla="*/ 3420 w 3526"/>
                <a:gd name="T49" fmla="*/ 1193 h 2803"/>
                <a:gd name="T50" fmla="*/ 3347 w 3526"/>
                <a:gd name="T51" fmla="*/ 1246 h 2803"/>
                <a:gd name="T52" fmla="*/ 3263 w 3526"/>
                <a:gd name="T53" fmla="*/ 1281 h 2803"/>
                <a:gd name="T54" fmla="*/ 3169 w 3526"/>
                <a:gd name="T55" fmla="*/ 1293 h 2803"/>
                <a:gd name="T56" fmla="*/ 2900 w 3526"/>
                <a:gd name="T57" fmla="*/ 1184 h 2803"/>
                <a:gd name="T58" fmla="*/ 2494 w 3526"/>
                <a:gd name="T59" fmla="*/ 1293 h 2803"/>
                <a:gd name="T60" fmla="*/ 921 w 3526"/>
                <a:gd name="T61" fmla="*/ 1184 h 2803"/>
                <a:gd name="T62" fmla="*/ 513 w 3526"/>
                <a:gd name="T63" fmla="*/ 1293 h 2803"/>
                <a:gd name="T64" fmla="*/ 294 w 3526"/>
                <a:gd name="T65" fmla="*/ 1291 h 2803"/>
                <a:gd name="T66" fmla="*/ 208 w 3526"/>
                <a:gd name="T67" fmla="*/ 1268 h 2803"/>
                <a:gd name="T68" fmla="*/ 131 w 3526"/>
                <a:gd name="T69" fmla="*/ 1226 h 2803"/>
                <a:gd name="T70" fmla="*/ 66 w 3526"/>
                <a:gd name="T71" fmla="*/ 1167 h 2803"/>
                <a:gd name="T72" fmla="*/ 17 w 3526"/>
                <a:gd name="T73" fmla="*/ 1094 h 2803"/>
                <a:gd name="T74" fmla="*/ 0 w 3526"/>
                <a:gd name="T75" fmla="*/ 350 h 2803"/>
                <a:gd name="T76" fmla="*/ 1182 w 3526"/>
                <a:gd name="T77" fmla="*/ 67 h 2803"/>
                <a:gd name="T78" fmla="*/ 1192 w 3526"/>
                <a:gd name="T79" fmla="*/ 32 h 2803"/>
                <a:gd name="T80" fmla="*/ 1216 w 3526"/>
                <a:gd name="T81" fmla="*/ 9 h 2803"/>
                <a:gd name="T82" fmla="*/ 1250 w 3526"/>
                <a:gd name="T83" fmla="*/ 0 h 2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526" h="2803">
                  <a:moveTo>
                    <a:pt x="3526" y="1207"/>
                  </a:moveTo>
                  <a:lnTo>
                    <a:pt x="3526" y="2803"/>
                  </a:lnTo>
                  <a:lnTo>
                    <a:pt x="0" y="2803"/>
                  </a:lnTo>
                  <a:lnTo>
                    <a:pt x="0" y="1227"/>
                  </a:lnTo>
                  <a:lnTo>
                    <a:pt x="32" y="1260"/>
                  </a:lnTo>
                  <a:lnTo>
                    <a:pt x="69" y="1291"/>
                  </a:lnTo>
                  <a:lnTo>
                    <a:pt x="108" y="1318"/>
                  </a:lnTo>
                  <a:lnTo>
                    <a:pt x="150" y="1340"/>
                  </a:lnTo>
                  <a:lnTo>
                    <a:pt x="195" y="1359"/>
                  </a:lnTo>
                  <a:lnTo>
                    <a:pt x="241" y="1372"/>
                  </a:lnTo>
                  <a:lnTo>
                    <a:pt x="290" y="1379"/>
                  </a:lnTo>
                  <a:lnTo>
                    <a:pt x="341" y="1382"/>
                  </a:lnTo>
                  <a:lnTo>
                    <a:pt x="513" y="1382"/>
                  </a:lnTo>
                  <a:lnTo>
                    <a:pt x="513" y="1663"/>
                  </a:lnTo>
                  <a:lnTo>
                    <a:pt x="921" y="1663"/>
                  </a:lnTo>
                  <a:lnTo>
                    <a:pt x="921" y="1382"/>
                  </a:lnTo>
                  <a:lnTo>
                    <a:pt x="2494" y="1382"/>
                  </a:lnTo>
                  <a:lnTo>
                    <a:pt x="2494" y="1663"/>
                  </a:lnTo>
                  <a:lnTo>
                    <a:pt x="2900" y="1663"/>
                  </a:lnTo>
                  <a:lnTo>
                    <a:pt x="2900" y="1382"/>
                  </a:lnTo>
                  <a:lnTo>
                    <a:pt x="3169" y="1382"/>
                  </a:lnTo>
                  <a:lnTo>
                    <a:pt x="3223" y="1379"/>
                  </a:lnTo>
                  <a:lnTo>
                    <a:pt x="3275" y="1371"/>
                  </a:lnTo>
                  <a:lnTo>
                    <a:pt x="3323" y="1355"/>
                  </a:lnTo>
                  <a:lnTo>
                    <a:pt x="3371" y="1335"/>
                  </a:lnTo>
                  <a:lnTo>
                    <a:pt x="3414" y="1309"/>
                  </a:lnTo>
                  <a:lnTo>
                    <a:pt x="3455" y="1280"/>
                  </a:lnTo>
                  <a:lnTo>
                    <a:pt x="3492" y="1245"/>
                  </a:lnTo>
                  <a:lnTo>
                    <a:pt x="3526" y="1207"/>
                  </a:lnTo>
                  <a:close/>
                  <a:moveTo>
                    <a:pt x="1317" y="133"/>
                  </a:moveTo>
                  <a:lnTo>
                    <a:pt x="1317" y="350"/>
                  </a:lnTo>
                  <a:lnTo>
                    <a:pt x="2217" y="350"/>
                  </a:lnTo>
                  <a:lnTo>
                    <a:pt x="2217" y="133"/>
                  </a:lnTo>
                  <a:lnTo>
                    <a:pt x="1317" y="133"/>
                  </a:lnTo>
                  <a:close/>
                  <a:moveTo>
                    <a:pt x="1250" y="0"/>
                  </a:moveTo>
                  <a:lnTo>
                    <a:pt x="2284" y="0"/>
                  </a:lnTo>
                  <a:lnTo>
                    <a:pt x="2301" y="2"/>
                  </a:lnTo>
                  <a:lnTo>
                    <a:pt x="2317" y="9"/>
                  </a:lnTo>
                  <a:lnTo>
                    <a:pt x="2330" y="19"/>
                  </a:lnTo>
                  <a:lnTo>
                    <a:pt x="2341" y="32"/>
                  </a:lnTo>
                  <a:lnTo>
                    <a:pt x="2348" y="49"/>
                  </a:lnTo>
                  <a:lnTo>
                    <a:pt x="2350" y="67"/>
                  </a:lnTo>
                  <a:lnTo>
                    <a:pt x="2350" y="350"/>
                  </a:lnTo>
                  <a:lnTo>
                    <a:pt x="3526" y="350"/>
                  </a:lnTo>
                  <a:lnTo>
                    <a:pt x="3526" y="995"/>
                  </a:lnTo>
                  <a:lnTo>
                    <a:pt x="3514" y="1041"/>
                  </a:lnTo>
                  <a:lnTo>
                    <a:pt x="3498" y="1083"/>
                  </a:lnTo>
                  <a:lnTo>
                    <a:pt x="3476" y="1123"/>
                  </a:lnTo>
                  <a:lnTo>
                    <a:pt x="3450" y="1160"/>
                  </a:lnTo>
                  <a:lnTo>
                    <a:pt x="3420" y="1193"/>
                  </a:lnTo>
                  <a:lnTo>
                    <a:pt x="3385" y="1221"/>
                  </a:lnTo>
                  <a:lnTo>
                    <a:pt x="3347" y="1246"/>
                  </a:lnTo>
                  <a:lnTo>
                    <a:pt x="3306" y="1267"/>
                  </a:lnTo>
                  <a:lnTo>
                    <a:pt x="3263" y="1281"/>
                  </a:lnTo>
                  <a:lnTo>
                    <a:pt x="3216" y="1291"/>
                  </a:lnTo>
                  <a:lnTo>
                    <a:pt x="3169" y="1293"/>
                  </a:lnTo>
                  <a:lnTo>
                    <a:pt x="2900" y="1293"/>
                  </a:lnTo>
                  <a:lnTo>
                    <a:pt x="2900" y="1184"/>
                  </a:lnTo>
                  <a:lnTo>
                    <a:pt x="2494" y="1184"/>
                  </a:lnTo>
                  <a:lnTo>
                    <a:pt x="2494" y="1293"/>
                  </a:lnTo>
                  <a:lnTo>
                    <a:pt x="921" y="1293"/>
                  </a:lnTo>
                  <a:lnTo>
                    <a:pt x="921" y="1184"/>
                  </a:lnTo>
                  <a:lnTo>
                    <a:pt x="513" y="1184"/>
                  </a:lnTo>
                  <a:lnTo>
                    <a:pt x="513" y="1293"/>
                  </a:lnTo>
                  <a:lnTo>
                    <a:pt x="341" y="1293"/>
                  </a:lnTo>
                  <a:lnTo>
                    <a:pt x="294" y="1291"/>
                  </a:lnTo>
                  <a:lnTo>
                    <a:pt x="250" y="1282"/>
                  </a:lnTo>
                  <a:lnTo>
                    <a:pt x="208" y="1268"/>
                  </a:lnTo>
                  <a:lnTo>
                    <a:pt x="168" y="1249"/>
                  </a:lnTo>
                  <a:lnTo>
                    <a:pt x="131" y="1226"/>
                  </a:lnTo>
                  <a:lnTo>
                    <a:pt x="96" y="1198"/>
                  </a:lnTo>
                  <a:lnTo>
                    <a:pt x="66" y="1167"/>
                  </a:lnTo>
                  <a:lnTo>
                    <a:pt x="40" y="1132"/>
                  </a:lnTo>
                  <a:lnTo>
                    <a:pt x="17" y="1094"/>
                  </a:lnTo>
                  <a:lnTo>
                    <a:pt x="0" y="1054"/>
                  </a:lnTo>
                  <a:lnTo>
                    <a:pt x="0" y="350"/>
                  </a:lnTo>
                  <a:lnTo>
                    <a:pt x="1182" y="350"/>
                  </a:lnTo>
                  <a:lnTo>
                    <a:pt x="1182" y="67"/>
                  </a:lnTo>
                  <a:lnTo>
                    <a:pt x="1185" y="49"/>
                  </a:lnTo>
                  <a:lnTo>
                    <a:pt x="1192" y="32"/>
                  </a:lnTo>
                  <a:lnTo>
                    <a:pt x="1202" y="19"/>
                  </a:lnTo>
                  <a:lnTo>
                    <a:pt x="1216" y="9"/>
                  </a:lnTo>
                  <a:lnTo>
                    <a:pt x="1232" y="2"/>
                  </a:lnTo>
                  <a:lnTo>
                    <a:pt x="12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sp>
        <p:nvSpPr>
          <p:cNvPr id="182" name="TextBox 181"/>
          <p:cNvSpPr txBox="1"/>
          <p:nvPr/>
        </p:nvSpPr>
        <p:spPr>
          <a:xfrm>
            <a:off x="6129867" y="204676"/>
            <a:ext cx="1502833" cy="1015663"/>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Agreements</a:t>
            </a:r>
          </a:p>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Draft your business agreements across a variety of areas</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83" name="TextBox 182"/>
          <p:cNvSpPr txBox="1"/>
          <p:nvPr/>
        </p:nvSpPr>
        <p:spPr>
          <a:xfrm>
            <a:off x="5952071" y="5769804"/>
            <a:ext cx="1790700" cy="969496"/>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Research </a:t>
            </a:r>
          </a:p>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Research tools for sales and marketing engagement </a:t>
            </a:r>
            <a:endParaRPr kumimoji="0" lang="en-US"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grpSp>
        <p:nvGrpSpPr>
          <p:cNvPr id="3" name="Group 2">
            <a:extLst>
              <a:ext uri="{FF2B5EF4-FFF2-40B4-BE49-F238E27FC236}">
                <a16:creationId xmlns:a16="http://schemas.microsoft.com/office/drawing/2014/main" id="{C95593B7-A4B8-69EB-2850-670375FC25FD}"/>
              </a:ext>
            </a:extLst>
          </p:cNvPr>
          <p:cNvGrpSpPr/>
          <p:nvPr/>
        </p:nvGrpSpPr>
        <p:grpSpPr>
          <a:xfrm>
            <a:off x="6327232" y="1649485"/>
            <a:ext cx="405418" cy="446818"/>
            <a:chOff x="-1206500" y="2587625"/>
            <a:chExt cx="1133475" cy="1247776"/>
          </a:xfrm>
        </p:grpSpPr>
        <p:sp>
          <p:nvSpPr>
            <p:cNvPr id="4" name="Freeform 68">
              <a:extLst>
                <a:ext uri="{FF2B5EF4-FFF2-40B4-BE49-F238E27FC236}">
                  <a16:creationId xmlns:a16="http://schemas.microsoft.com/office/drawing/2014/main" id="{F7F5750A-8ABE-4386-BD71-BDCC31B20F49}"/>
                </a:ext>
              </a:extLst>
            </p:cNvPr>
            <p:cNvSpPr>
              <a:spLocks/>
            </p:cNvSpPr>
            <p:nvPr/>
          </p:nvSpPr>
          <p:spPr bwMode="auto">
            <a:xfrm>
              <a:off x="-1074738" y="2587625"/>
              <a:ext cx="268288" cy="268288"/>
            </a:xfrm>
            <a:custGeom>
              <a:avLst/>
              <a:gdLst>
                <a:gd name="T0" fmla="*/ 423 w 847"/>
                <a:gd name="T1" fmla="*/ 0 h 845"/>
                <a:gd name="T2" fmla="*/ 423 w 847"/>
                <a:gd name="T3" fmla="*/ 0 h 845"/>
                <a:gd name="T4" fmla="*/ 476 w 847"/>
                <a:gd name="T5" fmla="*/ 3 h 845"/>
                <a:gd name="T6" fmla="*/ 527 w 847"/>
                <a:gd name="T7" fmla="*/ 13 h 845"/>
                <a:gd name="T8" fmla="*/ 577 w 847"/>
                <a:gd name="T9" fmla="*/ 29 h 845"/>
                <a:gd name="T10" fmla="*/ 623 w 847"/>
                <a:gd name="T11" fmla="*/ 49 h 845"/>
                <a:gd name="T12" fmla="*/ 665 w 847"/>
                <a:gd name="T13" fmla="*/ 76 h 845"/>
                <a:gd name="T14" fmla="*/ 705 w 847"/>
                <a:gd name="T15" fmla="*/ 106 h 845"/>
                <a:gd name="T16" fmla="*/ 740 w 847"/>
                <a:gd name="T17" fmla="*/ 142 h 845"/>
                <a:gd name="T18" fmla="*/ 770 w 847"/>
                <a:gd name="T19" fmla="*/ 181 h 845"/>
                <a:gd name="T20" fmla="*/ 797 w 847"/>
                <a:gd name="T21" fmla="*/ 223 h 845"/>
                <a:gd name="T22" fmla="*/ 819 w 847"/>
                <a:gd name="T23" fmla="*/ 269 h 845"/>
                <a:gd name="T24" fmla="*/ 833 w 847"/>
                <a:gd name="T25" fmla="*/ 319 h 845"/>
                <a:gd name="T26" fmla="*/ 843 w 847"/>
                <a:gd name="T27" fmla="*/ 370 h 845"/>
                <a:gd name="T28" fmla="*/ 847 w 847"/>
                <a:gd name="T29" fmla="*/ 423 h 845"/>
                <a:gd name="T30" fmla="*/ 843 w 847"/>
                <a:gd name="T31" fmla="*/ 476 h 845"/>
                <a:gd name="T32" fmla="*/ 833 w 847"/>
                <a:gd name="T33" fmla="*/ 527 h 845"/>
                <a:gd name="T34" fmla="*/ 819 w 847"/>
                <a:gd name="T35" fmla="*/ 575 h 845"/>
                <a:gd name="T36" fmla="*/ 797 w 847"/>
                <a:gd name="T37" fmla="*/ 621 h 845"/>
                <a:gd name="T38" fmla="*/ 770 w 847"/>
                <a:gd name="T39" fmla="*/ 665 h 845"/>
                <a:gd name="T40" fmla="*/ 740 w 847"/>
                <a:gd name="T41" fmla="*/ 703 h 845"/>
                <a:gd name="T42" fmla="*/ 705 w 847"/>
                <a:gd name="T43" fmla="*/ 739 h 845"/>
                <a:gd name="T44" fmla="*/ 665 w 847"/>
                <a:gd name="T45" fmla="*/ 770 h 845"/>
                <a:gd name="T46" fmla="*/ 623 w 847"/>
                <a:gd name="T47" fmla="*/ 797 h 845"/>
                <a:gd name="T48" fmla="*/ 577 w 847"/>
                <a:gd name="T49" fmla="*/ 817 h 845"/>
                <a:gd name="T50" fmla="*/ 527 w 847"/>
                <a:gd name="T51" fmla="*/ 833 h 845"/>
                <a:gd name="T52" fmla="*/ 476 w 847"/>
                <a:gd name="T53" fmla="*/ 843 h 845"/>
                <a:gd name="T54" fmla="*/ 423 w 847"/>
                <a:gd name="T55" fmla="*/ 845 h 845"/>
                <a:gd name="T56" fmla="*/ 369 w 847"/>
                <a:gd name="T57" fmla="*/ 843 h 845"/>
                <a:gd name="T58" fmla="*/ 318 w 847"/>
                <a:gd name="T59" fmla="*/ 833 h 845"/>
                <a:gd name="T60" fmla="*/ 270 w 847"/>
                <a:gd name="T61" fmla="*/ 817 h 845"/>
                <a:gd name="T62" fmla="*/ 224 w 847"/>
                <a:gd name="T63" fmla="*/ 797 h 845"/>
                <a:gd name="T64" fmla="*/ 181 w 847"/>
                <a:gd name="T65" fmla="*/ 770 h 845"/>
                <a:gd name="T66" fmla="*/ 141 w 847"/>
                <a:gd name="T67" fmla="*/ 739 h 845"/>
                <a:gd name="T68" fmla="*/ 106 w 847"/>
                <a:gd name="T69" fmla="*/ 703 h 845"/>
                <a:gd name="T70" fmla="*/ 75 w 847"/>
                <a:gd name="T71" fmla="*/ 665 h 845"/>
                <a:gd name="T72" fmla="*/ 49 w 847"/>
                <a:gd name="T73" fmla="*/ 621 h 845"/>
                <a:gd name="T74" fmla="*/ 27 w 847"/>
                <a:gd name="T75" fmla="*/ 575 h 845"/>
                <a:gd name="T76" fmla="*/ 12 w 847"/>
                <a:gd name="T77" fmla="*/ 527 h 845"/>
                <a:gd name="T78" fmla="*/ 2 w 847"/>
                <a:gd name="T79" fmla="*/ 476 h 845"/>
                <a:gd name="T80" fmla="*/ 0 w 847"/>
                <a:gd name="T81" fmla="*/ 423 h 845"/>
                <a:gd name="T82" fmla="*/ 2 w 847"/>
                <a:gd name="T83" fmla="*/ 370 h 845"/>
                <a:gd name="T84" fmla="*/ 12 w 847"/>
                <a:gd name="T85" fmla="*/ 319 h 845"/>
                <a:gd name="T86" fmla="*/ 27 w 847"/>
                <a:gd name="T87" fmla="*/ 269 h 845"/>
                <a:gd name="T88" fmla="*/ 49 w 847"/>
                <a:gd name="T89" fmla="*/ 223 h 845"/>
                <a:gd name="T90" fmla="*/ 75 w 847"/>
                <a:gd name="T91" fmla="*/ 181 h 845"/>
                <a:gd name="T92" fmla="*/ 106 w 847"/>
                <a:gd name="T93" fmla="*/ 142 h 845"/>
                <a:gd name="T94" fmla="*/ 141 w 847"/>
                <a:gd name="T95" fmla="*/ 106 h 845"/>
                <a:gd name="T96" fmla="*/ 181 w 847"/>
                <a:gd name="T97" fmla="*/ 76 h 845"/>
                <a:gd name="T98" fmla="*/ 224 w 847"/>
                <a:gd name="T99" fmla="*/ 49 h 845"/>
                <a:gd name="T100" fmla="*/ 270 w 847"/>
                <a:gd name="T101" fmla="*/ 29 h 845"/>
                <a:gd name="T102" fmla="*/ 318 w 847"/>
                <a:gd name="T103" fmla="*/ 13 h 845"/>
                <a:gd name="T104" fmla="*/ 369 w 847"/>
                <a:gd name="T105" fmla="*/ 3 h 845"/>
                <a:gd name="T106" fmla="*/ 423 w 847"/>
                <a:gd name="T107" fmla="*/ 0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47" h="845">
                  <a:moveTo>
                    <a:pt x="423" y="0"/>
                  </a:moveTo>
                  <a:lnTo>
                    <a:pt x="423" y="0"/>
                  </a:lnTo>
                  <a:lnTo>
                    <a:pt x="476" y="3"/>
                  </a:lnTo>
                  <a:lnTo>
                    <a:pt x="527" y="13"/>
                  </a:lnTo>
                  <a:lnTo>
                    <a:pt x="577" y="29"/>
                  </a:lnTo>
                  <a:lnTo>
                    <a:pt x="623" y="49"/>
                  </a:lnTo>
                  <a:lnTo>
                    <a:pt x="665" y="76"/>
                  </a:lnTo>
                  <a:lnTo>
                    <a:pt x="705" y="106"/>
                  </a:lnTo>
                  <a:lnTo>
                    <a:pt x="740" y="142"/>
                  </a:lnTo>
                  <a:lnTo>
                    <a:pt x="770" y="181"/>
                  </a:lnTo>
                  <a:lnTo>
                    <a:pt x="797" y="223"/>
                  </a:lnTo>
                  <a:lnTo>
                    <a:pt x="819" y="269"/>
                  </a:lnTo>
                  <a:lnTo>
                    <a:pt x="833" y="319"/>
                  </a:lnTo>
                  <a:lnTo>
                    <a:pt x="843" y="370"/>
                  </a:lnTo>
                  <a:lnTo>
                    <a:pt x="847" y="423"/>
                  </a:lnTo>
                  <a:lnTo>
                    <a:pt x="843" y="476"/>
                  </a:lnTo>
                  <a:lnTo>
                    <a:pt x="833" y="527"/>
                  </a:lnTo>
                  <a:lnTo>
                    <a:pt x="819" y="575"/>
                  </a:lnTo>
                  <a:lnTo>
                    <a:pt x="797" y="621"/>
                  </a:lnTo>
                  <a:lnTo>
                    <a:pt x="770" y="665"/>
                  </a:lnTo>
                  <a:lnTo>
                    <a:pt x="740" y="703"/>
                  </a:lnTo>
                  <a:lnTo>
                    <a:pt x="705" y="739"/>
                  </a:lnTo>
                  <a:lnTo>
                    <a:pt x="665" y="770"/>
                  </a:lnTo>
                  <a:lnTo>
                    <a:pt x="623" y="797"/>
                  </a:lnTo>
                  <a:lnTo>
                    <a:pt x="577" y="817"/>
                  </a:lnTo>
                  <a:lnTo>
                    <a:pt x="527" y="833"/>
                  </a:lnTo>
                  <a:lnTo>
                    <a:pt x="476" y="843"/>
                  </a:lnTo>
                  <a:lnTo>
                    <a:pt x="423" y="845"/>
                  </a:lnTo>
                  <a:lnTo>
                    <a:pt x="369" y="843"/>
                  </a:lnTo>
                  <a:lnTo>
                    <a:pt x="318" y="833"/>
                  </a:lnTo>
                  <a:lnTo>
                    <a:pt x="270" y="817"/>
                  </a:lnTo>
                  <a:lnTo>
                    <a:pt x="224" y="797"/>
                  </a:lnTo>
                  <a:lnTo>
                    <a:pt x="181" y="770"/>
                  </a:lnTo>
                  <a:lnTo>
                    <a:pt x="141" y="739"/>
                  </a:lnTo>
                  <a:lnTo>
                    <a:pt x="106" y="703"/>
                  </a:lnTo>
                  <a:lnTo>
                    <a:pt x="75" y="665"/>
                  </a:lnTo>
                  <a:lnTo>
                    <a:pt x="49" y="621"/>
                  </a:lnTo>
                  <a:lnTo>
                    <a:pt x="27" y="575"/>
                  </a:lnTo>
                  <a:lnTo>
                    <a:pt x="12" y="527"/>
                  </a:lnTo>
                  <a:lnTo>
                    <a:pt x="2" y="476"/>
                  </a:lnTo>
                  <a:lnTo>
                    <a:pt x="0" y="423"/>
                  </a:lnTo>
                  <a:lnTo>
                    <a:pt x="2" y="370"/>
                  </a:lnTo>
                  <a:lnTo>
                    <a:pt x="12" y="319"/>
                  </a:lnTo>
                  <a:lnTo>
                    <a:pt x="27" y="269"/>
                  </a:lnTo>
                  <a:lnTo>
                    <a:pt x="49" y="223"/>
                  </a:lnTo>
                  <a:lnTo>
                    <a:pt x="75" y="181"/>
                  </a:lnTo>
                  <a:lnTo>
                    <a:pt x="106" y="142"/>
                  </a:lnTo>
                  <a:lnTo>
                    <a:pt x="141" y="106"/>
                  </a:lnTo>
                  <a:lnTo>
                    <a:pt x="181" y="76"/>
                  </a:lnTo>
                  <a:lnTo>
                    <a:pt x="224" y="49"/>
                  </a:lnTo>
                  <a:lnTo>
                    <a:pt x="270" y="29"/>
                  </a:lnTo>
                  <a:lnTo>
                    <a:pt x="318" y="13"/>
                  </a:lnTo>
                  <a:lnTo>
                    <a:pt x="369" y="3"/>
                  </a:lnTo>
                  <a:lnTo>
                    <a:pt x="42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5" name="Freeform 69">
              <a:extLst>
                <a:ext uri="{FF2B5EF4-FFF2-40B4-BE49-F238E27FC236}">
                  <a16:creationId xmlns:a16="http://schemas.microsoft.com/office/drawing/2014/main" id="{575D9F6A-0DE7-4DAB-5725-08047A52C076}"/>
                </a:ext>
              </a:extLst>
            </p:cNvPr>
            <p:cNvSpPr>
              <a:spLocks/>
            </p:cNvSpPr>
            <p:nvPr/>
          </p:nvSpPr>
          <p:spPr bwMode="auto">
            <a:xfrm>
              <a:off x="-630238" y="2587625"/>
              <a:ext cx="269875" cy="269875"/>
            </a:xfrm>
            <a:custGeom>
              <a:avLst/>
              <a:gdLst>
                <a:gd name="T0" fmla="*/ 424 w 848"/>
                <a:gd name="T1" fmla="*/ 0 h 846"/>
                <a:gd name="T2" fmla="*/ 477 w 848"/>
                <a:gd name="T3" fmla="*/ 3 h 846"/>
                <a:gd name="T4" fmla="*/ 528 w 848"/>
                <a:gd name="T5" fmla="*/ 13 h 846"/>
                <a:gd name="T6" fmla="*/ 577 w 848"/>
                <a:gd name="T7" fmla="*/ 29 h 846"/>
                <a:gd name="T8" fmla="*/ 623 w 848"/>
                <a:gd name="T9" fmla="*/ 49 h 846"/>
                <a:gd name="T10" fmla="*/ 666 w 848"/>
                <a:gd name="T11" fmla="*/ 76 h 846"/>
                <a:gd name="T12" fmla="*/ 705 w 848"/>
                <a:gd name="T13" fmla="*/ 107 h 846"/>
                <a:gd name="T14" fmla="*/ 740 w 848"/>
                <a:gd name="T15" fmla="*/ 142 h 846"/>
                <a:gd name="T16" fmla="*/ 772 w 848"/>
                <a:gd name="T17" fmla="*/ 181 h 846"/>
                <a:gd name="T18" fmla="*/ 798 w 848"/>
                <a:gd name="T19" fmla="*/ 225 h 846"/>
                <a:gd name="T20" fmla="*/ 819 w 848"/>
                <a:gd name="T21" fmla="*/ 271 h 846"/>
                <a:gd name="T22" fmla="*/ 835 w 848"/>
                <a:gd name="T23" fmla="*/ 319 h 846"/>
                <a:gd name="T24" fmla="*/ 844 w 848"/>
                <a:gd name="T25" fmla="*/ 370 h 846"/>
                <a:gd name="T26" fmla="*/ 848 w 848"/>
                <a:gd name="T27" fmla="*/ 423 h 846"/>
                <a:gd name="T28" fmla="*/ 844 w 848"/>
                <a:gd name="T29" fmla="*/ 476 h 846"/>
                <a:gd name="T30" fmla="*/ 835 w 848"/>
                <a:gd name="T31" fmla="*/ 527 h 846"/>
                <a:gd name="T32" fmla="*/ 819 w 848"/>
                <a:gd name="T33" fmla="*/ 575 h 846"/>
                <a:gd name="T34" fmla="*/ 798 w 848"/>
                <a:gd name="T35" fmla="*/ 621 h 846"/>
                <a:gd name="T36" fmla="*/ 772 w 848"/>
                <a:gd name="T37" fmla="*/ 665 h 846"/>
                <a:gd name="T38" fmla="*/ 740 w 848"/>
                <a:gd name="T39" fmla="*/ 703 h 846"/>
                <a:gd name="T40" fmla="*/ 705 w 848"/>
                <a:gd name="T41" fmla="*/ 739 h 846"/>
                <a:gd name="T42" fmla="*/ 666 w 848"/>
                <a:gd name="T43" fmla="*/ 770 h 846"/>
                <a:gd name="T44" fmla="*/ 623 w 848"/>
                <a:gd name="T45" fmla="*/ 797 h 846"/>
                <a:gd name="T46" fmla="*/ 577 w 848"/>
                <a:gd name="T47" fmla="*/ 817 h 846"/>
                <a:gd name="T48" fmla="*/ 528 w 848"/>
                <a:gd name="T49" fmla="*/ 833 h 846"/>
                <a:gd name="T50" fmla="*/ 477 w 848"/>
                <a:gd name="T51" fmla="*/ 843 h 846"/>
                <a:gd name="T52" fmla="*/ 424 w 848"/>
                <a:gd name="T53" fmla="*/ 846 h 846"/>
                <a:gd name="T54" fmla="*/ 370 w 848"/>
                <a:gd name="T55" fmla="*/ 843 h 846"/>
                <a:gd name="T56" fmla="*/ 320 w 848"/>
                <a:gd name="T57" fmla="*/ 833 h 846"/>
                <a:gd name="T58" fmla="*/ 271 w 848"/>
                <a:gd name="T59" fmla="*/ 817 h 846"/>
                <a:gd name="T60" fmla="*/ 225 w 848"/>
                <a:gd name="T61" fmla="*/ 797 h 846"/>
                <a:gd name="T62" fmla="*/ 181 w 848"/>
                <a:gd name="T63" fmla="*/ 770 h 846"/>
                <a:gd name="T64" fmla="*/ 143 w 848"/>
                <a:gd name="T65" fmla="*/ 739 h 846"/>
                <a:gd name="T66" fmla="*/ 107 w 848"/>
                <a:gd name="T67" fmla="*/ 703 h 846"/>
                <a:gd name="T68" fmla="*/ 76 w 848"/>
                <a:gd name="T69" fmla="*/ 665 h 846"/>
                <a:gd name="T70" fmla="*/ 49 w 848"/>
                <a:gd name="T71" fmla="*/ 621 h 846"/>
                <a:gd name="T72" fmla="*/ 29 w 848"/>
                <a:gd name="T73" fmla="*/ 575 h 846"/>
                <a:gd name="T74" fmla="*/ 13 w 848"/>
                <a:gd name="T75" fmla="*/ 527 h 846"/>
                <a:gd name="T76" fmla="*/ 3 w 848"/>
                <a:gd name="T77" fmla="*/ 476 h 846"/>
                <a:gd name="T78" fmla="*/ 0 w 848"/>
                <a:gd name="T79" fmla="*/ 423 h 846"/>
                <a:gd name="T80" fmla="*/ 3 w 848"/>
                <a:gd name="T81" fmla="*/ 370 h 846"/>
                <a:gd name="T82" fmla="*/ 13 w 848"/>
                <a:gd name="T83" fmla="*/ 319 h 846"/>
                <a:gd name="T84" fmla="*/ 29 w 848"/>
                <a:gd name="T85" fmla="*/ 271 h 846"/>
                <a:gd name="T86" fmla="*/ 49 w 848"/>
                <a:gd name="T87" fmla="*/ 225 h 846"/>
                <a:gd name="T88" fmla="*/ 76 w 848"/>
                <a:gd name="T89" fmla="*/ 181 h 846"/>
                <a:gd name="T90" fmla="*/ 107 w 848"/>
                <a:gd name="T91" fmla="*/ 142 h 846"/>
                <a:gd name="T92" fmla="*/ 143 w 848"/>
                <a:gd name="T93" fmla="*/ 107 h 846"/>
                <a:gd name="T94" fmla="*/ 181 w 848"/>
                <a:gd name="T95" fmla="*/ 76 h 846"/>
                <a:gd name="T96" fmla="*/ 225 w 848"/>
                <a:gd name="T97" fmla="*/ 49 h 846"/>
                <a:gd name="T98" fmla="*/ 271 w 848"/>
                <a:gd name="T99" fmla="*/ 29 h 846"/>
                <a:gd name="T100" fmla="*/ 320 w 848"/>
                <a:gd name="T101" fmla="*/ 13 h 846"/>
                <a:gd name="T102" fmla="*/ 370 w 848"/>
                <a:gd name="T103" fmla="*/ 3 h 846"/>
                <a:gd name="T104" fmla="*/ 424 w 848"/>
                <a:gd name="T105" fmla="*/ 0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48" h="846">
                  <a:moveTo>
                    <a:pt x="424" y="0"/>
                  </a:moveTo>
                  <a:lnTo>
                    <a:pt x="477" y="3"/>
                  </a:lnTo>
                  <a:lnTo>
                    <a:pt x="528" y="13"/>
                  </a:lnTo>
                  <a:lnTo>
                    <a:pt x="577" y="29"/>
                  </a:lnTo>
                  <a:lnTo>
                    <a:pt x="623" y="49"/>
                  </a:lnTo>
                  <a:lnTo>
                    <a:pt x="666" y="76"/>
                  </a:lnTo>
                  <a:lnTo>
                    <a:pt x="705" y="107"/>
                  </a:lnTo>
                  <a:lnTo>
                    <a:pt x="740" y="142"/>
                  </a:lnTo>
                  <a:lnTo>
                    <a:pt x="772" y="181"/>
                  </a:lnTo>
                  <a:lnTo>
                    <a:pt x="798" y="225"/>
                  </a:lnTo>
                  <a:lnTo>
                    <a:pt x="819" y="271"/>
                  </a:lnTo>
                  <a:lnTo>
                    <a:pt x="835" y="319"/>
                  </a:lnTo>
                  <a:lnTo>
                    <a:pt x="844" y="370"/>
                  </a:lnTo>
                  <a:lnTo>
                    <a:pt x="848" y="423"/>
                  </a:lnTo>
                  <a:lnTo>
                    <a:pt x="844" y="476"/>
                  </a:lnTo>
                  <a:lnTo>
                    <a:pt x="835" y="527"/>
                  </a:lnTo>
                  <a:lnTo>
                    <a:pt x="819" y="575"/>
                  </a:lnTo>
                  <a:lnTo>
                    <a:pt x="798" y="621"/>
                  </a:lnTo>
                  <a:lnTo>
                    <a:pt x="772" y="665"/>
                  </a:lnTo>
                  <a:lnTo>
                    <a:pt x="740" y="703"/>
                  </a:lnTo>
                  <a:lnTo>
                    <a:pt x="705" y="739"/>
                  </a:lnTo>
                  <a:lnTo>
                    <a:pt x="666" y="770"/>
                  </a:lnTo>
                  <a:lnTo>
                    <a:pt x="623" y="797"/>
                  </a:lnTo>
                  <a:lnTo>
                    <a:pt x="577" y="817"/>
                  </a:lnTo>
                  <a:lnTo>
                    <a:pt x="528" y="833"/>
                  </a:lnTo>
                  <a:lnTo>
                    <a:pt x="477" y="843"/>
                  </a:lnTo>
                  <a:lnTo>
                    <a:pt x="424" y="846"/>
                  </a:lnTo>
                  <a:lnTo>
                    <a:pt x="370" y="843"/>
                  </a:lnTo>
                  <a:lnTo>
                    <a:pt x="320" y="833"/>
                  </a:lnTo>
                  <a:lnTo>
                    <a:pt x="271" y="817"/>
                  </a:lnTo>
                  <a:lnTo>
                    <a:pt x="225" y="797"/>
                  </a:lnTo>
                  <a:lnTo>
                    <a:pt x="181" y="770"/>
                  </a:lnTo>
                  <a:lnTo>
                    <a:pt x="143" y="739"/>
                  </a:lnTo>
                  <a:lnTo>
                    <a:pt x="107" y="703"/>
                  </a:lnTo>
                  <a:lnTo>
                    <a:pt x="76" y="665"/>
                  </a:lnTo>
                  <a:lnTo>
                    <a:pt x="49" y="621"/>
                  </a:lnTo>
                  <a:lnTo>
                    <a:pt x="29" y="575"/>
                  </a:lnTo>
                  <a:lnTo>
                    <a:pt x="13" y="527"/>
                  </a:lnTo>
                  <a:lnTo>
                    <a:pt x="3" y="476"/>
                  </a:lnTo>
                  <a:lnTo>
                    <a:pt x="0" y="423"/>
                  </a:lnTo>
                  <a:lnTo>
                    <a:pt x="3" y="370"/>
                  </a:lnTo>
                  <a:lnTo>
                    <a:pt x="13" y="319"/>
                  </a:lnTo>
                  <a:lnTo>
                    <a:pt x="29" y="271"/>
                  </a:lnTo>
                  <a:lnTo>
                    <a:pt x="49" y="225"/>
                  </a:lnTo>
                  <a:lnTo>
                    <a:pt x="76" y="181"/>
                  </a:lnTo>
                  <a:lnTo>
                    <a:pt x="107" y="142"/>
                  </a:lnTo>
                  <a:lnTo>
                    <a:pt x="143" y="107"/>
                  </a:lnTo>
                  <a:lnTo>
                    <a:pt x="181" y="76"/>
                  </a:lnTo>
                  <a:lnTo>
                    <a:pt x="225" y="49"/>
                  </a:lnTo>
                  <a:lnTo>
                    <a:pt x="271" y="29"/>
                  </a:lnTo>
                  <a:lnTo>
                    <a:pt x="320" y="13"/>
                  </a:lnTo>
                  <a:lnTo>
                    <a:pt x="370" y="3"/>
                  </a:lnTo>
                  <a:lnTo>
                    <a:pt x="424"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6" name="Freeform 70">
              <a:extLst>
                <a:ext uri="{FF2B5EF4-FFF2-40B4-BE49-F238E27FC236}">
                  <a16:creationId xmlns:a16="http://schemas.microsoft.com/office/drawing/2014/main" id="{1E0702D2-6D43-B3D5-6E8B-9A3C04F89BFA}"/>
                </a:ext>
              </a:extLst>
            </p:cNvPr>
            <p:cNvSpPr>
              <a:spLocks/>
            </p:cNvSpPr>
            <p:nvPr/>
          </p:nvSpPr>
          <p:spPr bwMode="auto">
            <a:xfrm>
              <a:off x="-411163" y="3667125"/>
              <a:ext cx="142875" cy="168275"/>
            </a:xfrm>
            <a:custGeom>
              <a:avLst/>
              <a:gdLst>
                <a:gd name="T0" fmla="*/ 0 w 449"/>
                <a:gd name="T1" fmla="*/ 0 h 529"/>
                <a:gd name="T2" fmla="*/ 449 w 449"/>
                <a:gd name="T3" fmla="*/ 0 h 529"/>
                <a:gd name="T4" fmla="*/ 449 w 449"/>
                <a:gd name="T5" fmla="*/ 305 h 529"/>
                <a:gd name="T6" fmla="*/ 445 w 449"/>
                <a:gd name="T7" fmla="*/ 345 h 529"/>
                <a:gd name="T8" fmla="*/ 436 w 449"/>
                <a:gd name="T9" fmla="*/ 383 h 529"/>
                <a:gd name="T10" fmla="*/ 419 w 449"/>
                <a:gd name="T11" fmla="*/ 418 h 529"/>
                <a:gd name="T12" fmla="*/ 397 w 449"/>
                <a:gd name="T13" fmla="*/ 449 h 529"/>
                <a:gd name="T14" fmla="*/ 369 w 449"/>
                <a:gd name="T15" fmla="*/ 476 h 529"/>
                <a:gd name="T16" fmla="*/ 339 w 449"/>
                <a:gd name="T17" fmla="*/ 499 h 529"/>
                <a:gd name="T18" fmla="*/ 303 w 449"/>
                <a:gd name="T19" fmla="*/ 515 h 529"/>
                <a:gd name="T20" fmla="*/ 265 w 449"/>
                <a:gd name="T21" fmla="*/ 525 h 529"/>
                <a:gd name="T22" fmla="*/ 225 w 449"/>
                <a:gd name="T23" fmla="*/ 529 h 529"/>
                <a:gd name="T24" fmla="*/ 225 w 449"/>
                <a:gd name="T25" fmla="*/ 529 h 529"/>
                <a:gd name="T26" fmla="*/ 185 w 449"/>
                <a:gd name="T27" fmla="*/ 525 h 529"/>
                <a:gd name="T28" fmla="*/ 147 w 449"/>
                <a:gd name="T29" fmla="*/ 515 h 529"/>
                <a:gd name="T30" fmla="*/ 112 w 449"/>
                <a:gd name="T31" fmla="*/ 499 h 529"/>
                <a:gd name="T32" fmla="*/ 80 w 449"/>
                <a:gd name="T33" fmla="*/ 477 h 529"/>
                <a:gd name="T34" fmla="*/ 54 w 449"/>
                <a:gd name="T35" fmla="*/ 449 h 529"/>
                <a:gd name="T36" fmla="*/ 31 w 449"/>
                <a:gd name="T37" fmla="*/ 418 h 529"/>
                <a:gd name="T38" fmla="*/ 15 w 449"/>
                <a:gd name="T39" fmla="*/ 384 h 529"/>
                <a:gd name="T40" fmla="*/ 4 w 449"/>
                <a:gd name="T41" fmla="*/ 345 h 529"/>
                <a:gd name="T42" fmla="*/ 0 w 449"/>
                <a:gd name="T43" fmla="*/ 305 h 529"/>
                <a:gd name="T44" fmla="*/ 0 w 449"/>
                <a:gd name="T45" fmla="*/ 0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9" h="529">
                  <a:moveTo>
                    <a:pt x="0" y="0"/>
                  </a:moveTo>
                  <a:lnTo>
                    <a:pt x="449" y="0"/>
                  </a:lnTo>
                  <a:lnTo>
                    <a:pt x="449" y="305"/>
                  </a:lnTo>
                  <a:lnTo>
                    <a:pt x="445" y="345"/>
                  </a:lnTo>
                  <a:lnTo>
                    <a:pt x="436" y="383"/>
                  </a:lnTo>
                  <a:lnTo>
                    <a:pt x="419" y="418"/>
                  </a:lnTo>
                  <a:lnTo>
                    <a:pt x="397" y="449"/>
                  </a:lnTo>
                  <a:lnTo>
                    <a:pt x="369" y="476"/>
                  </a:lnTo>
                  <a:lnTo>
                    <a:pt x="339" y="499"/>
                  </a:lnTo>
                  <a:lnTo>
                    <a:pt x="303" y="515"/>
                  </a:lnTo>
                  <a:lnTo>
                    <a:pt x="265" y="525"/>
                  </a:lnTo>
                  <a:lnTo>
                    <a:pt x="225" y="529"/>
                  </a:lnTo>
                  <a:lnTo>
                    <a:pt x="225" y="529"/>
                  </a:lnTo>
                  <a:lnTo>
                    <a:pt x="185" y="525"/>
                  </a:lnTo>
                  <a:lnTo>
                    <a:pt x="147" y="515"/>
                  </a:lnTo>
                  <a:lnTo>
                    <a:pt x="112" y="499"/>
                  </a:lnTo>
                  <a:lnTo>
                    <a:pt x="80" y="477"/>
                  </a:lnTo>
                  <a:lnTo>
                    <a:pt x="54" y="449"/>
                  </a:lnTo>
                  <a:lnTo>
                    <a:pt x="31" y="418"/>
                  </a:lnTo>
                  <a:lnTo>
                    <a:pt x="15" y="384"/>
                  </a:lnTo>
                  <a:lnTo>
                    <a:pt x="4" y="345"/>
                  </a:lnTo>
                  <a:lnTo>
                    <a:pt x="0" y="305"/>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7" name="Freeform 71">
              <a:extLst>
                <a:ext uri="{FF2B5EF4-FFF2-40B4-BE49-F238E27FC236}">
                  <a16:creationId xmlns:a16="http://schemas.microsoft.com/office/drawing/2014/main" id="{8D3BEEBA-7A98-87D8-D5C6-C21245071BD6}"/>
                </a:ext>
              </a:extLst>
            </p:cNvPr>
            <p:cNvSpPr>
              <a:spLocks noEditPoints="1"/>
            </p:cNvSpPr>
            <p:nvPr/>
          </p:nvSpPr>
          <p:spPr bwMode="auto">
            <a:xfrm>
              <a:off x="-1206500" y="2849563"/>
              <a:ext cx="1133475" cy="985838"/>
            </a:xfrm>
            <a:custGeom>
              <a:avLst/>
              <a:gdLst>
                <a:gd name="T0" fmla="*/ 2967 w 3570"/>
                <a:gd name="T1" fmla="*/ 1562 h 3106"/>
                <a:gd name="T2" fmla="*/ 2816 w 3570"/>
                <a:gd name="T3" fmla="*/ 1513 h 3106"/>
                <a:gd name="T4" fmla="*/ 2732 w 3570"/>
                <a:gd name="T5" fmla="*/ 1583 h 3106"/>
                <a:gd name="T6" fmla="*/ 3079 w 3570"/>
                <a:gd name="T7" fmla="*/ 1519 h 3106"/>
                <a:gd name="T8" fmla="*/ 575 w 3570"/>
                <a:gd name="T9" fmla="*/ 0 h 3106"/>
                <a:gd name="T10" fmla="*/ 675 w 3570"/>
                <a:gd name="T11" fmla="*/ 13 h 3106"/>
                <a:gd name="T12" fmla="*/ 742 w 3570"/>
                <a:gd name="T13" fmla="*/ 39 h 3106"/>
                <a:gd name="T14" fmla="*/ 878 w 3570"/>
                <a:gd name="T15" fmla="*/ 140 h 3106"/>
                <a:gd name="T16" fmla="*/ 968 w 3570"/>
                <a:gd name="T17" fmla="*/ 331 h 3106"/>
                <a:gd name="T18" fmla="*/ 995 w 3570"/>
                <a:gd name="T19" fmla="*/ 496 h 3106"/>
                <a:gd name="T20" fmla="*/ 1067 w 3570"/>
                <a:gd name="T21" fmla="*/ 739 h 3106"/>
                <a:gd name="T22" fmla="*/ 1217 w 3570"/>
                <a:gd name="T23" fmla="*/ 851 h 3106"/>
                <a:gd name="T24" fmla="*/ 1428 w 3570"/>
                <a:gd name="T25" fmla="*/ 849 h 3106"/>
                <a:gd name="T26" fmla="*/ 1663 w 3570"/>
                <a:gd name="T27" fmla="*/ 815 h 3106"/>
                <a:gd name="T28" fmla="*/ 1905 w 3570"/>
                <a:gd name="T29" fmla="*/ 777 h 3106"/>
                <a:gd name="T30" fmla="*/ 2022 w 3570"/>
                <a:gd name="T31" fmla="*/ 687 h 3106"/>
                <a:gd name="T32" fmla="*/ 2085 w 3570"/>
                <a:gd name="T33" fmla="*/ 474 h 3106"/>
                <a:gd name="T34" fmla="*/ 2109 w 3570"/>
                <a:gd name="T35" fmla="*/ 331 h 3106"/>
                <a:gd name="T36" fmla="*/ 2199 w 3570"/>
                <a:gd name="T37" fmla="*/ 140 h 3106"/>
                <a:gd name="T38" fmla="*/ 2336 w 3570"/>
                <a:gd name="T39" fmla="*/ 39 h 3106"/>
                <a:gd name="T40" fmla="*/ 2401 w 3570"/>
                <a:gd name="T41" fmla="*/ 13 h 3106"/>
                <a:gd name="T42" fmla="*/ 2502 w 3570"/>
                <a:gd name="T43" fmla="*/ 0 h 3106"/>
                <a:gd name="T44" fmla="*/ 2595 w 3570"/>
                <a:gd name="T45" fmla="*/ 10 h 3106"/>
                <a:gd name="T46" fmla="*/ 2750 w 3570"/>
                <a:gd name="T47" fmla="*/ 105 h 3106"/>
                <a:gd name="T48" fmla="*/ 2821 w 3570"/>
                <a:gd name="T49" fmla="*/ 259 h 3106"/>
                <a:gd name="T50" fmla="*/ 2848 w 3570"/>
                <a:gd name="T51" fmla="*/ 368 h 3106"/>
                <a:gd name="T52" fmla="*/ 2903 w 3570"/>
                <a:gd name="T53" fmla="*/ 586 h 3106"/>
                <a:gd name="T54" fmla="*/ 2971 w 3570"/>
                <a:gd name="T55" fmla="*/ 855 h 3106"/>
                <a:gd name="T56" fmla="*/ 3036 w 3570"/>
                <a:gd name="T57" fmla="*/ 1116 h 3106"/>
                <a:gd name="T58" fmla="*/ 3084 w 3570"/>
                <a:gd name="T59" fmla="*/ 1309 h 3106"/>
                <a:gd name="T60" fmla="*/ 3099 w 3570"/>
                <a:gd name="T61" fmla="*/ 1411 h 3106"/>
                <a:gd name="T62" fmla="*/ 3230 w 3570"/>
                <a:gd name="T63" fmla="*/ 1516 h 3106"/>
                <a:gd name="T64" fmla="*/ 2302 w 3570"/>
                <a:gd name="T65" fmla="*/ 2516 h 3106"/>
                <a:gd name="T66" fmla="*/ 2659 w 3570"/>
                <a:gd name="T67" fmla="*/ 1488 h 3106"/>
                <a:gd name="T68" fmla="*/ 2760 w 3570"/>
                <a:gd name="T69" fmla="*/ 1361 h 3106"/>
                <a:gd name="T70" fmla="*/ 2690 w 3570"/>
                <a:gd name="T71" fmla="*/ 1088 h 3106"/>
                <a:gd name="T72" fmla="*/ 2612 w 3570"/>
                <a:gd name="T73" fmla="*/ 833 h 3106"/>
                <a:gd name="T74" fmla="*/ 2559 w 3570"/>
                <a:gd name="T75" fmla="*/ 676 h 3106"/>
                <a:gd name="T76" fmla="*/ 2508 w 3570"/>
                <a:gd name="T77" fmla="*/ 624 h 3106"/>
                <a:gd name="T78" fmla="*/ 2497 w 3570"/>
                <a:gd name="T79" fmla="*/ 679 h 3106"/>
                <a:gd name="T80" fmla="*/ 2599 w 3570"/>
                <a:gd name="T81" fmla="*/ 964 h 3106"/>
                <a:gd name="T82" fmla="*/ 2707 w 3570"/>
                <a:gd name="T83" fmla="*/ 1384 h 3106"/>
                <a:gd name="T84" fmla="*/ 2576 w 3570"/>
                <a:gd name="T85" fmla="*/ 1534 h 3106"/>
                <a:gd name="T86" fmla="*/ 2358 w 3570"/>
                <a:gd name="T87" fmla="*/ 1439 h 3106"/>
                <a:gd name="T88" fmla="*/ 2195 w 3570"/>
                <a:gd name="T89" fmla="*/ 989 h 3106"/>
                <a:gd name="T90" fmla="*/ 1959 w 3570"/>
                <a:gd name="T91" fmla="*/ 1104 h 3106"/>
                <a:gd name="T92" fmla="*/ 1667 w 3570"/>
                <a:gd name="T93" fmla="*/ 1168 h 3106"/>
                <a:gd name="T94" fmla="*/ 1554 w 3570"/>
                <a:gd name="T95" fmla="*/ 1248 h 3106"/>
                <a:gd name="T96" fmla="*/ 1250 w 3570"/>
                <a:gd name="T97" fmla="*/ 1202 h 3106"/>
                <a:gd name="T98" fmla="*/ 956 w 3570"/>
                <a:gd name="T99" fmla="*/ 1085 h 3106"/>
                <a:gd name="T100" fmla="*/ 755 w 3570"/>
                <a:gd name="T101" fmla="*/ 1370 h 3106"/>
                <a:gd name="T102" fmla="*/ 639 w 3570"/>
                <a:gd name="T103" fmla="*/ 1516 h 3106"/>
                <a:gd name="T104" fmla="*/ 558 w 3570"/>
                <a:gd name="T105" fmla="*/ 2960 h 3106"/>
                <a:gd name="T106" fmla="*/ 425 w 3570"/>
                <a:gd name="T107" fmla="*/ 3092 h 3106"/>
                <a:gd name="T108" fmla="*/ 234 w 3570"/>
                <a:gd name="T109" fmla="*/ 3076 h 3106"/>
                <a:gd name="T110" fmla="*/ 126 w 3570"/>
                <a:gd name="T111" fmla="*/ 2922 h 3106"/>
                <a:gd name="T112" fmla="*/ 41 w 3570"/>
                <a:gd name="T113" fmla="*/ 1376 h 3106"/>
                <a:gd name="T114" fmla="*/ 6 w 3570"/>
                <a:gd name="T115" fmla="*/ 1168 h 3106"/>
                <a:gd name="T116" fmla="*/ 279 w 3570"/>
                <a:gd name="T117" fmla="*/ 115 h 3106"/>
                <a:gd name="T118" fmla="*/ 446 w 3570"/>
                <a:gd name="T119" fmla="*/ 18 h 3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70" h="3106">
                  <a:moveTo>
                    <a:pt x="3057" y="1513"/>
                  </a:moveTo>
                  <a:lnTo>
                    <a:pt x="3038" y="1529"/>
                  </a:lnTo>
                  <a:lnTo>
                    <a:pt x="3017" y="1544"/>
                  </a:lnTo>
                  <a:lnTo>
                    <a:pt x="2993" y="1555"/>
                  </a:lnTo>
                  <a:lnTo>
                    <a:pt x="2967" y="1562"/>
                  </a:lnTo>
                  <a:lnTo>
                    <a:pt x="2936" y="1566"/>
                  </a:lnTo>
                  <a:lnTo>
                    <a:pt x="2902" y="1562"/>
                  </a:lnTo>
                  <a:lnTo>
                    <a:pt x="2869" y="1551"/>
                  </a:lnTo>
                  <a:lnTo>
                    <a:pt x="2840" y="1534"/>
                  </a:lnTo>
                  <a:lnTo>
                    <a:pt x="2816" y="1513"/>
                  </a:lnTo>
                  <a:lnTo>
                    <a:pt x="2793" y="1519"/>
                  </a:lnTo>
                  <a:lnTo>
                    <a:pt x="2773" y="1529"/>
                  </a:lnTo>
                  <a:lnTo>
                    <a:pt x="2756" y="1544"/>
                  </a:lnTo>
                  <a:lnTo>
                    <a:pt x="2742" y="1562"/>
                  </a:lnTo>
                  <a:lnTo>
                    <a:pt x="2732" y="1583"/>
                  </a:lnTo>
                  <a:lnTo>
                    <a:pt x="3139" y="1583"/>
                  </a:lnTo>
                  <a:lnTo>
                    <a:pt x="3130" y="1562"/>
                  </a:lnTo>
                  <a:lnTo>
                    <a:pt x="3116" y="1544"/>
                  </a:lnTo>
                  <a:lnTo>
                    <a:pt x="3098" y="1529"/>
                  </a:lnTo>
                  <a:lnTo>
                    <a:pt x="3079" y="1519"/>
                  </a:lnTo>
                  <a:lnTo>
                    <a:pt x="3057" y="1513"/>
                  </a:lnTo>
                  <a:close/>
                  <a:moveTo>
                    <a:pt x="559" y="0"/>
                  </a:moveTo>
                  <a:lnTo>
                    <a:pt x="560" y="0"/>
                  </a:lnTo>
                  <a:lnTo>
                    <a:pt x="564" y="0"/>
                  </a:lnTo>
                  <a:lnTo>
                    <a:pt x="575" y="0"/>
                  </a:lnTo>
                  <a:lnTo>
                    <a:pt x="592" y="1"/>
                  </a:lnTo>
                  <a:lnTo>
                    <a:pt x="611" y="2"/>
                  </a:lnTo>
                  <a:lnTo>
                    <a:pt x="634" y="5"/>
                  </a:lnTo>
                  <a:lnTo>
                    <a:pt x="656" y="8"/>
                  </a:lnTo>
                  <a:lnTo>
                    <a:pt x="675" y="13"/>
                  </a:lnTo>
                  <a:lnTo>
                    <a:pt x="695" y="18"/>
                  </a:lnTo>
                  <a:lnTo>
                    <a:pt x="710" y="24"/>
                  </a:lnTo>
                  <a:lnTo>
                    <a:pt x="724" y="30"/>
                  </a:lnTo>
                  <a:lnTo>
                    <a:pt x="735" y="35"/>
                  </a:lnTo>
                  <a:lnTo>
                    <a:pt x="742" y="39"/>
                  </a:lnTo>
                  <a:lnTo>
                    <a:pt x="744" y="40"/>
                  </a:lnTo>
                  <a:lnTo>
                    <a:pt x="779" y="59"/>
                  </a:lnTo>
                  <a:lnTo>
                    <a:pt x="815" y="82"/>
                  </a:lnTo>
                  <a:lnTo>
                    <a:pt x="847" y="110"/>
                  </a:lnTo>
                  <a:lnTo>
                    <a:pt x="878" y="140"/>
                  </a:lnTo>
                  <a:lnTo>
                    <a:pt x="905" y="173"/>
                  </a:lnTo>
                  <a:lnTo>
                    <a:pt x="928" y="209"/>
                  </a:lnTo>
                  <a:lnTo>
                    <a:pt x="947" y="248"/>
                  </a:lnTo>
                  <a:lnTo>
                    <a:pt x="961" y="289"/>
                  </a:lnTo>
                  <a:lnTo>
                    <a:pt x="968" y="331"/>
                  </a:lnTo>
                  <a:lnTo>
                    <a:pt x="970" y="337"/>
                  </a:lnTo>
                  <a:lnTo>
                    <a:pt x="972" y="345"/>
                  </a:lnTo>
                  <a:lnTo>
                    <a:pt x="973" y="351"/>
                  </a:lnTo>
                  <a:lnTo>
                    <a:pt x="984" y="427"/>
                  </a:lnTo>
                  <a:lnTo>
                    <a:pt x="995" y="496"/>
                  </a:lnTo>
                  <a:lnTo>
                    <a:pt x="1006" y="557"/>
                  </a:lnTo>
                  <a:lnTo>
                    <a:pt x="1018" y="613"/>
                  </a:lnTo>
                  <a:lnTo>
                    <a:pt x="1033" y="661"/>
                  </a:lnTo>
                  <a:lnTo>
                    <a:pt x="1048" y="704"/>
                  </a:lnTo>
                  <a:lnTo>
                    <a:pt x="1067" y="739"/>
                  </a:lnTo>
                  <a:lnTo>
                    <a:pt x="1088" y="769"/>
                  </a:lnTo>
                  <a:lnTo>
                    <a:pt x="1112" y="792"/>
                  </a:lnTo>
                  <a:lnTo>
                    <a:pt x="1141" y="814"/>
                  </a:lnTo>
                  <a:lnTo>
                    <a:pt x="1176" y="833"/>
                  </a:lnTo>
                  <a:lnTo>
                    <a:pt x="1217" y="851"/>
                  </a:lnTo>
                  <a:lnTo>
                    <a:pt x="1265" y="867"/>
                  </a:lnTo>
                  <a:lnTo>
                    <a:pt x="1320" y="883"/>
                  </a:lnTo>
                  <a:lnTo>
                    <a:pt x="1383" y="896"/>
                  </a:lnTo>
                  <a:lnTo>
                    <a:pt x="1402" y="870"/>
                  </a:lnTo>
                  <a:lnTo>
                    <a:pt x="1428" y="849"/>
                  </a:lnTo>
                  <a:lnTo>
                    <a:pt x="1456" y="832"/>
                  </a:lnTo>
                  <a:lnTo>
                    <a:pt x="1488" y="821"/>
                  </a:lnTo>
                  <a:lnTo>
                    <a:pt x="1522" y="817"/>
                  </a:lnTo>
                  <a:lnTo>
                    <a:pt x="1596" y="817"/>
                  </a:lnTo>
                  <a:lnTo>
                    <a:pt x="1663" y="815"/>
                  </a:lnTo>
                  <a:lnTo>
                    <a:pt x="1724" y="810"/>
                  </a:lnTo>
                  <a:lnTo>
                    <a:pt x="1778" y="805"/>
                  </a:lnTo>
                  <a:lnTo>
                    <a:pt x="1827" y="798"/>
                  </a:lnTo>
                  <a:lnTo>
                    <a:pt x="1869" y="788"/>
                  </a:lnTo>
                  <a:lnTo>
                    <a:pt x="1905" y="777"/>
                  </a:lnTo>
                  <a:lnTo>
                    <a:pt x="1937" y="765"/>
                  </a:lnTo>
                  <a:lnTo>
                    <a:pt x="1964" y="751"/>
                  </a:lnTo>
                  <a:lnTo>
                    <a:pt x="1985" y="734"/>
                  </a:lnTo>
                  <a:lnTo>
                    <a:pt x="2005" y="713"/>
                  </a:lnTo>
                  <a:lnTo>
                    <a:pt x="2022" y="687"/>
                  </a:lnTo>
                  <a:lnTo>
                    <a:pt x="2038" y="654"/>
                  </a:lnTo>
                  <a:lnTo>
                    <a:pt x="2051" y="618"/>
                  </a:lnTo>
                  <a:lnTo>
                    <a:pt x="2063" y="574"/>
                  </a:lnTo>
                  <a:lnTo>
                    <a:pt x="2074" y="527"/>
                  </a:lnTo>
                  <a:lnTo>
                    <a:pt x="2085" y="474"/>
                  </a:lnTo>
                  <a:lnTo>
                    <a:pt x="2095" y="415"/>
                  </a:lnTo>
                  <a:lnTo>
                    <a:pt x="2104" y="351"/>
                  </a:lnTo>
                  <a:lnTo>
                    <a:pt x="2105" y="345"/>
                  </a:lnTo>
                  <a:lnTo>
                    <a:pt x="2107" y="337"/>
                  </a:lnTo>
                  <a:lnTo>
                    <a:pt x="2109" y="331"/>
                  </a:lnTo>
                  <a:lnTo>
                    <a:pt x="2116" y="289"/>
                  </a:lnTo>
                  <a:lnTo>
                    <a:pt x="2130" y="248"/>
                  </a:lnTo>
                  <a:lnTo>
                    <a:pt x="2149" y="209"/>
                  </a:lnTo>
                  <a:lnTo>
                    <a:pt x="2172" y="173"/>
                  </a:lnTo>
                  <a:lnTo>
                    <a:pt x="2199" y="140"/>
                  </a:lnTo>
                  <a:lnTo>
                    <a:pt x="2230" y="110"/>
                  </a:lnTo>
                  <a:lnTo>
                    <a:pt x="2263" y="82"/>
                  </a:lnTo>
                  <a:lnTo>
                    <a:pt x="2297" y="59"/>
                  </a:lnTo>
                  <a:lnTo>
                    <a:pt x="2333" y="40"/>
                  </a:lnTo>
                  <a:lnTo>
                    <a:pt x="2336" y="39"/>
                  </a:lnTo>
                  <a:lnTo>
                    <a:pt x="2342" y="35"/>
                  </a:lnTo>
                  <a:lnTo>
                    <a:pt x="2353" y="30"/>
                  </a:lnTo>
                  <a:lnTo>
                    <a:pt x="2366" y="24"/>
                  </a:lnTo>
                  <a:lnTo>
                    <a:pt x="2383" y="18"/>
                  </a:lnTo>
                  <a:lnTo>
                    <a:pt x="2401" y="13"/>
                  </a:lnTo>
                  <a:lnTo>
                    <a:pt x="2421" y="8"/>
                  </a:lnTo>
                  <a:lnTo>
                    <a:pt x="2444" y="5"/>
                  </a:lnTo>
                  <a:lnTo>
                    <a:pt x="2465" y="2"/>
                  </a:lnTo>
                  <a:lnTo>
                    <a:pt x="2486" y="1"/>
                  </a:lnTo>
                  <a:lnTo>
                    <a:pt x="2502" y="0"/>
                  </a:lnTo>
                  <a:lnTo>
                    <a:pt x="2513" y="0"/>
                  </a:lnTo>
                  <a:lnTo>
                    <a:pt x="2516" y="0"/>
                  </a:lnTo>
                  <a:lnTo>
                    <a:pt x="2518" y="0"/>
                  </a:lnTo>
                  <a:lnTo>
                    <a:pt x="2558" y="2"/>
                  </a:lnTo>
                  <a:lnTo>
                    <a:pt x="2595" y="10"/>
                  </a:lnTo>
                  <a:lnTo>
                    <a:pt x="2630" y="21"/>
                  </a:lnTo>
                  <a:lnTo>
                    <a:pt x="2664" y="35"/>
                  </a:lnTo>
                  <a:lnTo>
                    <a:pt x="2696" y="54"/>
                  </a:lnTo>
                  <a:lnTo>
                    <a:pt x="2724" y="77"/>
                  </a:lnTo>
                  <a:lnTo>
                    <a:pt x="2750" y="105"/>
                  </a:lnTo>
                  <a:lnTo>
                    <a:pt x="2772" y="135"/>
                  </a:lnTo>
                  <a:lnTo>
                    <a:pt x="2792" y="172"/>
                  </a:lnTo>
                  <a:lnTo>
                    <a:pt x="2807" y="212"/>
                  </a:lnTo>
                  <a:lnTo>
                    <a:pt x="2819" y="255"/>
                  </a:lnTo>
                  <a:lnTo>
                    <a:pt x="2821" y="259"/>
                  </a:lnTo>
                  <a:lnTo>
                    <a:pt x="2823" y="270"/>
                  </a:lnTo>
                  <a:lnTo>
                    <a:pt x="2827" y="285"/>
                  </a:lnTo>
                  <a:lnTo>
                    <a:pt x="2833" y="308"/>
                  </a:lnTo>
                  <a:lnTo>
                    <a:pt x="2840" y="336"/>
                  </a:lnTo>
                  <a:lnTo>
                    <a:pt x="2848" y="368"/>
                  </a:lnTo>
                  <a:lnTo>
                    <a:pt x="2857" y="405"/>
                  </a:lnTo>
                  <a:lnTo>
                    <a:pt x="2868" y="445"/>
                  </a:lnTo>
                  <a:lnTo>
                    <a:pt x="2879" y="490"/>
                  </a:lnTo>
                  <a:lnTo>
                    <a:pt x="2891" y="537"/>
                  </a:lnTo>
                  <a:lnTo>
                    <a:pt x="2903" y="586"/>
                  </a:lnTo>
                  <a:lnTo>
                    <a:pt x="2916" y="637"/>
                  </a:lnTo>
                  <a:lnTo>
                    <a:pt x="2930" y="690"/>
                  </a:lnTo>
                  <a:lnTo>
                    <a:pt x="2944" y="745"/>
                  </a:lnTo>
                  <a:lnTo>
                    <a:pt x="2958" y="800"/>
                  </a:lnTo>
                  <a:lnTo>
                    <a:pt x="2971" y="855"/>
                  </a:lnTo>
                  <a:lnTo>
                    <a:pt x="2985" y="909"/>
                  </a:lnTo>
                  <a:lnTo>
                    <a:pt x="2999" y="964"/>
                  </a:lnTo>
                  <a:lnTo>
                    <a:pt x="3012" y="1016"/>
                  </a:lnTo>
                  <a:lnTo>
                    <a:pt x="3024" y="1068"/>
                  </a:lnTo>
                  <a:lnTo>
                    <a:pt x="3036" y="1116"/>
                  </a:lnTo>
                  <a:lnTo>
                    <a:pt x="3048" y="1162"/>
                  </a:lnTo>
                  <a:lnTo>
                    <a:pt x="3058" y="1204"/>
                  </a:lnTo>
                  <a:lnTo>
                    <a:pt x="3068" y="1244"/>
                  </a:lnTo>
                  <a:lnTo>
                    <a:pt x="3076" y="1279"/>
                  </a:lnTo>
                  <a:lnTo>
                    <a:pt x="3084" y="1309"/>
                  </a:lnTo>
                  <a:lnTo>
                    <a:pt x="3090" y="1336"/>
                  </a:lnTo>
                  <a:lnTo>
                    <a:pt x="3095" y="1355"/>
                  </a:lnTo>
                  <a:lnTo>
                    <a:pt x="3098" y="1370"/>
                  </a:lnTo>
                  <a:lnTo>
                    <a:pt x="3101" y="1390"/>
                  </a:lnTo>
                  <a:lnTo>
                    <a:pt x="3099" y="1411"/>
                  </a:lnTo>
                  <a:lnTo>
                    <a:pt x="3132" y="1423"/>
                  </a:lnTo>
                  <a:lnTo>
                    <a:pt x="3162" y="1441"/>
                  </a:lnTo>
                  <a:lnTo>
                    <a:pt x="3189" y="1463"/>
                  </a:lnTo>
                  <a:lnTo>
                    <a:pt x="3212" y="1488"/>
                  </a:lnTo>
                  <a:lnTo>
                    <a:pt x="3230" y="1516"/>
                  </a:lnTo>
                  <a:lnTo>
                    <a:pt x="3244" y="1549"/>
                  </a:lnTo>
                  <a:lnTo>
                    <a:pt x="3253" y="1583"/>
                  </a:lnTo>
                  <a:lnTo>
                    <a:pt x="3570" y="1583"/>
                  </a:lnTo>
                  <a:lnTo>
                    <a:pt x="3570" y="2516"/>
                  </a:lnTo>
                  <a:lnTo>
                    <a:pt x="2302" y="2516"/>
                  </a:lnTo>
                  <a:lnTo>
                    <a:pt x="2302" y="1583"/>
                  </a:lnTo>
                  <a:lnTo>
                    <a:pt x="2619" y="1583"/>
                  </a:lnTo>
                  <a:lnTo>
                    <a:pt x="2628" y="1549"/>
                  </a:lnTo>
                  <a:lnTo>
                    <a:pt x="2641" y="1517"/>
                  </a:lnTo>
                  <a:lnTo>
                    <a:pt x="2659" y="1488"/>
                  </a:lnTo>
                  <a:lnTo>
                    <a:pt x="2682" y="1463"/>
                  </a:lnTo>
                  <a:lnTo>
                    <a:pt x="2709" y="1441"/>
                  </a:lnTo>
                  <a:lnTo>
                    <a:pt x="2738" y="1424"/>
                  </a:lnTo>
                  <a:lnTo>
                    <a:pt x="2770" y="1412"/>
                  </a:lnTo>
                  <a:lnTo>
                    <a:pt x="2760" y="1361"/>
                  </a:lnTo>
                  <a:lnTo>
                    <a:pt x="2748" y="1309"/>
                  </a:lnTo>
                  <a:lnTo>
                    <a:pt x="2735" y="1256"/>
                  </a:lnTo>
                  <a:lnTo>
                    <a:pt x="2720" y="1201"/>
                  </a:lnTo>
                  <a:lnTo>
                    <a:pt x="2705" y="1144"/>
                  </a:lnTo>
                  <a:lnTo>
                    <a:pt x="2690" y="1088"/>
                  </a:lnTo>
                  <a:lnTo>
                    <a:pt x="2674" y="1034"/>
                  </a:lnTo>
                  <a:lnTo>
                    <a:pt x="2658" y="979"/>
                  </a:lnTo>
                  <a:lnTo>
                    <a:pt x="2642" y="927"/>
                  </a:lnTo>
                  <a:lnTo>
                    <a:pt x="2627" y="879"/>
                  </a:lnTo>
                  <a:lnTo>
                    <a:pt x="2612" y="833"/>
                  </a:lnTo>
                  <a:lnTo>
                    <a:pt x="2599" y="791"/>
                  </a:lnTo>
                  <a:lnTo>
                    <a:pt x="2587" y="753"/>
                  </a:lnTo>
                  <a:lnTo>
                    <a:pt x="2576" y="722"/>
                  </a:lnTo>
                  <a:lnTo>
                    <a:pt x="2566" y="695"/>
                  </a:lnTo>
                  <a:lnTo>
                    <a:pt x="2559" y="676"/>
                  </a:lnTo>
                  <a:lnTo>
                    <a:pt x="2549" y="654"/>
                  </a:lnTo>
                  <a:lnTo>
                    <a:pt x="2538" y="640"/>
                  </a:lnTo>
                  <a:lnTo>
                    <a:pt x="2527" y="629"/>
                  </a:lnTo>
                  <a:lnTo>
                    <a:pt x="2516" y="624"/>
                  </a:lnTo>
                  <a:lnTo>
                    <a:pt x="2508" y="624"/>
                  </a:lnTo>
                  <a:lnTo>
                    <a:pt x="2499" y="627"/>
                  </a:lnTo>
                  <a:lnTo>
                    <a:pt x="2495" y="635"/>
                  </a:lnTo>
                  <a:lnTo>
                    <a:pt x="2491" y="647"/>
                  </a:lnTo>
                  <a:lnTo>
                    <a:pt x="2492" y="661"/>
                  </a:lnTo>
                  <a:lnTo>
                    <a:pt x="2497" y="679"/>
                  </a:lnTo>
                  <a:lnTo>
                    <a:pt x="2507" y="701"/>
                  </a:lnTo>
                  <a:lnTo>
                    <a:pt x="2530" y="757"/>
                  </a:lnTo>
                  <a:lnTo>
                    <a:pt x="2553" y="821"/>
                  </a:lnTo>
                  <a:lnTo>
                    <a:pt x="2576" y="890"/>
                  </a:lnTo>
                  <a:lnTo>
                    <a:pt x="2599" y="964"/>
                  </a:lnTo>
                  <a:lnTo>
                    <a:pt x="2622" y="1042"/>
                  </a:lnTo>
                  <a:lnTo>
                    <a:pt x="2645" y="1124"/>
                  </a:lnTo>
                  <a:lnTo>
                    <a:pt x="2667" y="1209"/>
                  </a:lnTo>
                  <a:lnTo>
                    <a:pt x="2687" y="1296"/>
                  </a:lnTo>
                  <a:lnTo>
                    <a:pt x="2707" y="1384"/>
                  </a:lnTo>
                  <a:lnTo>
                    <a:pt x="2672" y="1406"/>
                  </a:lnTo>
                  <a:lnTo>
                    <a:pt x="2641" y="1433"/>
                  </a:lnTo>
                  <a:lnTo>
                    <a:pt x="2615" y="1463"/>
                  </a:lnTo>
                  <a:lnTo>
                    <a:pt x="2593" y="1497"/>
                  </a:lnTo>
                  <a:lnTo>
                    <a:pt x="2576" y="1534"/>
                  </a:lnTo>
                  <a:lnTo>
                    <a:pt x="2469" y="1534"/>
                  </a:lnTo>
                  <a:lnTo>
                    <a:pt x="2438" y="1515"/>
                  </a:lnTo>
                  <a:lnTo>
                    <a:pt x="2407" y="1493"/>
                  </a:lnTo>
                  <a:lnTo>
                    <a:pt x="2381" y="1468"/>
                  </a:lnTo>
                  <a:lnTo>
                    <a:pt x="2358" y="1439"/>
                  </a:lnTo>
                  <a:lnTo>
                    <a:pt x="2337" y="1406"/>
                  </a:lnTo>
                  <a:lnTo>
                    <a:pt x="2321" y="1370"/>
                  </a:lnTo>
                  <a:lnTo>
                    <a:pt x="2309" y="1331"/>
                  </a:lnTo>
                  <a:lnTo>
                    <a:pt x="2229" y="956"/>
                  </a:lnTo>
                  <a:lnTo>
                    <a:pt x="2195" y="989"/>
                  </a:lnTo>
                  <a:lnTo>
                    <a:pt x="2156" y="1019"/>
                  </a:lnTo>
                  <a:lnTo>
                    <a:pt x="2114" y="1045"/>
                  </a:lnTo>
                  <a:lnTo>
                    <a:pt x="2067" y="1068"/>
                  </a:lnTo>
                  <a:lnTo>
                    <a:pt x="2015" y="1087"/>
                  </a:lnTo>
                  <a:lnTo>
                    <a:pt x="1959" y="1104"/>
                  </a:lnTo>
                  <a:lnTo>
                    <a:pt x="1897" y="1117"/>
                  </a:lnTo>
                  <a:lnTo>
                    <a:pt x="1830" y="1128"/>
                  </a:lnTo>
                  <a:lnTo>
                    <a:pt x="1758" y="1136"/>
                  </a:lnTo>
                  <a:lnTo>
                    <a:pt x="1679" y="1143"/>
                  </a:lnTo>
                  <a:lnTo>
                    <a:pt x="1667" y="1168"/>
                  </a:lnTo>
                  <a:lnTo>
                    <a:pt x="1650" y="1192"/>
                  </a:lnTo>
                  <a:lnTo>
                    <a:pt x="1630" y="1211"/>
                  </a:lnTo>
                  <a:lnTo>
                    <a:pt x="1607" y="1228"/>
                  </a:lnTo>
                  <a:lnTo>
                    <a:pt x="1582" y="1240"/>
                  </a:lnTo>
                  <a:lnTo>
                    <a:pt x="1554" y="1248"/>
                  </a:lnTo>
                  <a:lnTo>
                    <a:pt x="1525" y="1250"/>
                  </a:lnTo>
                  <a:lnTo>
                    <a:pt x="1502" y="1249"/>
                  </a:lnTo>
                  <a:lnTo>
                    <a:pt x="1411" y="1234"/>
                  </a:lnTo>
                  <a:lnTo>
                    <a:pt x="1327" y="1220"/>
                  </a:lnTo>
                  <a:lnTo>
                    <a:pt x="1250" y="1202"/>
                  </a:lnTo>
                  <a:lnTo>
                    <a:pt x="1179" y="1184"/>
                  </a:lnTo>
                  <a:lnTo>
                    <a:pt x="1115" y="1162"/>
                  </a:lnTo>
                  <a:lnTo>
                    <a:pt x="1057" y="1139"/>
                  </a:lnTo>
                  <a:lnTo>
                    <a:pt x="1004" y="1114"/>
                  </a:lnTo>
                  <a:lnTo>
                    <a:pt x="956" y="1085"/>
                  </a:lnTo>
                  <a:lnTo>
                    <a:pt x="914" y="1054"/>
                  </a:lnTo>
                  <a:lnTo>
                    <a:pt x="875" y="1022"/>
                  </a:lnTo>
                  <a:lnTo>
                    <a:pt x="841" y="985"/>
                  </a:lnTo>
                  <a:lnTo>
                    <a:pt x="767" y="1330"/>
                  </a:lnTo>
                  <a:lnTo>
                    <a:pt x="755" y="1370"/>
                  </a:lnTo>
                  <a:lnTo>
                    <a:pt x="739" y="1406"/>
                  </a:lnTo>
                  <a:lnTo>
                    <a:pt x="719" y="1439"/>
                  </a:lnTo>
                  <a:lnTo>
                    <a:pt x="696" y="1468"/>
                  </a:lnTo>
                  <a:lnTo>
                    <a:pt x="668" y="1493"/>
                  </a:lnTo>
                  <a:lnTo>
                    <a:pt x="639" y="1516"/>
                  </a:lnTo>
                  <a:lnTo>
                    <a:pt x="606" y="1534"/>
                  </a:lnTo>
                  <a:lnTo>
                    <a:pt x="572" y="1550"/>
                  </a:lnTo>
                  <a:lnTo>
                    <a:pt x="571" y="2882"/>
                  </a:lnTo>
                  <a:lnTo>
                    <a:pt x="567" y="2922"/>
                  </a:lnTo>
                  <a:lnTo>
                    <a:pt x="558" y="2960"/>
                  </a:lnTo>
                  <a:lnTo>
                    <a:pt x="541" y="2995"/>
                  </a:lnTo>
                  <a:lnTo>
                    <a:pt x="519" y="3026"/>
                  </a:lnTo>
                  <a:lnTo>
                    <a:pt x="491" y="3053"/>
                  </a:lnTo>
                  <a:lnTo>
                    <a:pt x="461" y="3076"/>
                  </a:lnTo>
                  <a:lnTo>
                    <a:pt x="425" y="3092"/>
                  </a:lnTo>
                  <a:lnTo>
                    <a:pt x="387" y="3102"/>
                  </a:lnTo>
                  <a:lnTo>
                    <a:pt x="347" y="3106"/>
                  </a:lnTo>
                  <a:lnTo>
                    <a:pt x="307" y="3102"/>
                  </a:lnTo>
                  <a:lnTo>
                    <a:pt x="269" y="3092"/>
                  </a:lnTo>
                  <a:lnTo>
                    <a:pt x="234" y="3076"/>
                  </a:lnTo>
                  <a:lnTo>
                    <a:pt x="202" y="3053"/>
                  </a:lnTo>
                  <a:lnTo>
                    <a:pt x="176" y="3026"/>
                  </a:lnTo>
                  <a:lnTo>
                    <a:pt x="153" y="2995"/>
                  </a:lnTo>
                  <a:lnTo>
                    <a:pt x="137" y="2960"/>
                  </a:lnTo>
                  <a:lnTo>
                    <a:pt x="126" y="2922"/>
                  </a:lnTo>
                  <a:lnTo>
                    <a:pt x="122" y="2882"/>
                  </a:lnTo>
                  <a:lnTo>
                    <a:pt x="124" y="1474"/>
                  </a:lnTo>
                  <a:lnTo>
                    <a:pt x="92" y="1444"/>
                  </a:lnTo>
                  <a:lnTo>
                    <a:pt x="64" y="1411"/>
                  </a:lnTo>
                  <a:lnTo>
                    <a:pt x="41" y="1376"/>
                  </a:lnTo>
                  <a:lnTo>
                    <a:pt x="22" y="1338"/>
                  </a:lnTo>
                  <a:lnTo>
                    <a:pt x="8" y="1299"/>
                  </a:lnTo>
                  <a:lnTo>
                    <a:pt x="1" y="1256"/>
                  </a:lnTo>
                  <a:lnTo>
                    <a:pt x="0" y="1213"/>
                  </a:lnTo>
                  <a:lnTo>
                    <a:pt x="6" y="1168"/>
                  </a:lnTo>
                  <a:lnTo>
                    <a:pt x="202" y="255"/>
                  </a:lnTo>
                  <a:lnTo>
                    <a:pt x="215" y="215"/>
                  </a:lnTo>
                  <a:lnTo>
                    <a:pt x="232" y="178"/>
                  </a:lnTo>
                  <a:lnTo>
                    <a:pt x="253" y="144"/>
                  </a:lnTo>
                  <a:lnTo>
                    <a:pt x="279" y="115"/>
                  </a:lnTo>
                  <a:lnTo>
                    <a:pt x="308" y="88"/>
                  </a:lnTo>
                  <a:lnTo>
                    <a:pt x="339" y="65"/>
                  </a:lnTo>
                  <a:lnTo>
                    <a:pt x="373" y="46"/>
                  </a:lnTo>
                  <a:lnTo>
                    <a:pt x="410" y="30"/>
                  </a:lnTo>
                  <a:lnTo>
                    <a:pt x="446" y="18"/>
                  </a:lnTo>
                  <a:lnTo>
                    <a:pt x="484" y="8"/>
                  </a:lnTo>
                  <a:lnTo>
                    <a:pt x="521" y="2"/>
                  </a:lnTo>
                  <a:lnTo>
                    <a:pt x="55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8" name="Group 7">
            <a:extLst>
              <a:ext uri="{FF2B5EF4-FFF2-40B4-BE49-F238E27FC236}">
                <a16:creationId xmlns:a16="http://schemas.microsoft.com/office/drawing/2014/main" id="{633FBF13-0864-35BD-C2FC-6C527EADF090}"/>
              </a:ext>
            </a:extLst>
          </p:cNvPr>
          <p:cNvGrpSpPr/>
          <p:nvPr/>
        </p:nvGrpSpPr>
        <p:grpSpPr>
          <a:xfrm>
            <a:off x="5563147" y="4777433"/>
            <a:ext cx="271275" cy="392294"/>
            <a:chOff x="-1103313" y="2519361"/>
            <a:chExt cx="414338" cy="598488"/>
          </a:xfrm>
        </p:grpSpPr>
        <p:sp>
          <p:nvSpPr>
            <p:cNvPr id="9" name="Freeform 91">
              <a:extLst>
                <a:ext uri="{FF2B5EF4-FFF2-40B4-BE49-F238E27FC236}">
                  <a16:creationId xmlns:a16="http://schemas.microsoft.com/office/drawing/2014/main" id="{E1733AC6-1E7C-8D18-2807-DFB6D3847F15}"/>
                </a:ext>
              </a:extLst>
            </p:cNvPr>
            <p:cNvSpPr>
              <a:spLocks noEditPoints="1"/>
            </p:cNvSpPr>
            <p:nvPr/>
          </p:nvSpPr>
          <p:spPr bwMode="auto">
            <a:xfrm>
              <a:off x="-1103313" y="2519361"/>
              <a:ext cx="414338" cy="598488"/>
            </a:xfrm>
            <a:custGeom>
              <a:avLst/>
              <a:gdLst>
                <a:gd name="T0" fmla="*/ 1610 w 2347"/>
                <a:gd name="T1" fmla="*/ 805 h 3396"/>
                <a:gd name="T2" fmla="*/ 373 w 2347"/>
                <a:gd name="T3" fmla="*/ 449 h 3396"/>
                <a:gd name="T4" fmla="*/ 283 w 2347"/>
                <a:gd name="T5" fmla="*/ 477 h 3396"/>
                <a:gd name="T6" fmla="*/ 226 w 2347"/>
                <a:gd name="T7" fmla="*/ 547 h 3396"/>
                <a:gd name="T8" fmla="*/ 213 w 2347"/>
                <a:gd name="T9" fmla="*/ 3025 h 3396"/>
                <a:gd name="T10" fmla="*/ 241 w 2347"/>
                <a:gd name="T11" fmla="*/ 3113 h 3396"/>
                <a:gd name="T12" fmla="*/ 311 w 2347"/>
                <a:gd name="T13" fmla="*/ 3170 h 3396"/>
                <a:gd name="T14" fmla="*/ 1974 w 2347"/>
                <a:gd name="T15" fmla="*/ 3183 h 3396"/>
                <a:gd name="T16" fmla="*/ 2064 w 2347"/>
                <a:gd name="T17" fmla="*/ 3155 h 3396"/>
                <a:gd name="T18" fmla="*/ 2122 w 2347"/>
                <a:gd name="T19" fmla="*/ 3086 h 3396"/>
                <a:gd name="T20" fmla="*/ 2134 w 2347"/>
                <a:gd name="T21" fmla="*/ 609 h 3396"/>
                <a:gd name="T22" fmla="*/ 2107 w 2347"/>
                <a:gd name="T23" fmla="*/ 520 h 3396"/>
                <a:gd name="T24" fmla="*/ 2036 w 2347"/>
                <a:gd name="T25" fmla="*/ 462 h 3396"/>
                <a:gd name="T26" fmla="*/ 1821 w 2347"/>
                <a:gd name="T27" fmla="*/ 449 h 3396"/>
                <a:gd name="T28" fmla="*/ 1809 w 2347"/>
                <a:gd name="T29" fmla="*/ 894 h 3396"/>
                <a:gd name="T30" fmla="*/ 1755 w 2347"/>
                <a:gd name="T31" fmla="*/ 971 h 3396"/>
                <a:gd name="T32" fmla="*/ 1668 w 2347"/>
                <a:gd name="T33" fmla="*/ 1011 h 3396"/>
                <a:gd name="T34" fmla="*/ 679 w 2347"/>
                <a:gd name="T35" fmla="*/ 1011 h 3396"/>
                <a:gd name="T36" fmla="*/ 592 w 2347"/>
                <a:gd name="T37" fmla="*/ 971 h 3396"/>
                <a:gd name="T38" fmla="*/ 538 w 2347"/>
                <a:gd name="T39" fmla="*/ 894 h 3396"/>
                <a:gd name="T40" fmla="*/ 526 w 2347"/>
                <a:gd name="T41" fmla="*/ 449 h 3396"/>
                <a:gd name="T42" fmla="*/ 1152 w 2347"/>
                <a:gd name="T43" fmla="*/ 75 h 3396"/>
                <a:gd name="T44" fmla="*/ 1104 w 2347"/>
                <a:gd name="T45" fmla="*/ 112 h 3396"/>
                <a:gd name="T46" fmla="*/ 1096 w 2347"/>
                <a:gd name="T47" fmla="*/ 174 h 3396"/>
                <a:gd name="T48" fmla="*/ 1132 w 2347"/>
                <a:gd name="T49" fmla="*/ 222 h 3396"/>
                <a:gd name="T50" fmla="*/ 1195 w 2347"/>
                <a:gd name="T51" fmla="*/ 230 h 3396"/>
                <a:gd name="T52" fmla="*/ 1244 w 2347"/>
                <a:gd name="T53" fmla="*/ 193 h 3396"/>
                <a:gd name="T54" fmla="*/ 1251 w 2347"/>
                <a:gd name="T55" fmla="*/ 131 h 3396"/>
                <a:gd name="T56" fmla="*/ 1215 w 2347"/>
                <a:gd name="T57" fmla="*/ 84 h 3396"/>
                <a:gd name="T58" fmla="*/ 989 w 2347"/>
                <a:gd name="T59" fmla="*/ 0 h 3396"/>
                <a:gd name="T60" fmla="*/ 1421 w 2347"/>
                <a:gd name="T61" fmla="*/ 12 h 3396"/>
                <a:gd name="T62" fmla="*/ 1493 w 2347"/>
                <a:gd name="T63" fmla="*/ 71 h 3396"/>
                <a:gd name="T64" fmla="*/ 1519 w 2347"/>
                <a:gd name="T65" fmla="*/ 161 h 3396"/>
                <a:gd name="T66" fmla="*/ 2021 w 2347"/>
                <a:gd name="T67" fmla="*/ 241 h 3396"/>
                <a:gd name="T68" fmla="*/ 2149 w 2347"/>
                <a:gd name="T69" fmla="*/ 281 h 3396"/>
                <a:gd name="T70" fmla="*/ 2253 w 2347"/>
                <a:gd name="T71" fmla="*/ 362 h 3396"/>
                <a:gd name="T72" fmla="*/ 2323 w 2347"/>
                <a:gd name="T73" fmla="*/ 475 h 3396"/>
                <a:gd name="T74" fmla="*/ 2347 w 2347"/>
                <a:gd name="T75" fmla="*/ 609 h 3396"/>
                <a:gd name="T76" fmla="*/ 2335 w 2347"/>
                <a:gd name="T77" fmla="*/ 3115 h 3396"/>
                <a:gd name="T78" fmla="*/ 2281 w 2347"/>
                <a:gd name="T79" fmla="*/ 3236 h 3396"/>
                <a:gd name="T80" fmla="*/ 2187 w 2347"/>
                <a:gd name="T81" fmla="*/ 3329 h 3396"/>
                <a:gd name="T82" fmla="*/ 2066 w 2347"/>
                <a:gd name="T83" fmla="*/ 3384 h 3396"/>
                <a:gd name="T84" fmla="*/ 373 w 2347"/>
                <a:gd name="T85" fmla="*/ 3396 h 3396"/>
                <a:gd name="T86" fmla="*/ 238 w 2347"/>
                <a:gd name="T87" fmla="*/ 3370 h 3396"/>
                <a:gd name="T88" fmla="*/ 125 w 2347"/>
                <a:gd name="T89" fmla="*/ 3301 h 3396"/>
                <a:gd name="T90" fmla="*/ 44 w 2347"/>
                <a:gd name="T91" fmla="*/ 3198 h 3396"/>
                <a:gd name="T92" fmla="*/ 3 w 2347"/>
                <a:gd name="T93" fmla="*/ 3070 h 3396"/>
                <a:gd name="T94" fmla="*/ 3 w 2347"/>
                <a:gd name="T95" fmla="*/ 562 h 3396"/>
                <a:gd name="T96" fmla="*/ 44 w 2347"/>
                <a:gd name="T97" fmla="*/ 435 h 3396"/>
                <a:gd name="T98" fmla="*/ 125 w 2347"/>
                <a:gd name="T99" fmla="*/ 331 h 3396"/>
                <a:gd name="T100" fmla="*/ 238 w 2347"/>
                <a:gd name="T101" fmla="*/ 262 h 3396"/>
                <a:gd name="T102" fmla="*/ 373 w 2347"/>
                <a:gd name="T103" fmla="*/ 238 h 3396"/>
                <a:gd name="T104" fmla="*/ 831 w 2347"/>
                <a:gd name="T105" fmla="*/ 128 h 3396"/>
                <a:gd name="T106" fmla="*/ 875 w 2347"/>
                <a:gd name="T107" fmla="*/ 47 h 3396"/>
                <a:gd name="T108" fmla="*/ 956 w 2347"/>
                <a:gd name="T109" fmla="*/ 3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47" h="3396">
                  <a:moveTo>
                    <a:pt x="737" y="465"/>
                  </a:moveTo>
                  <a:lnTo>
                    <a:pt x="737" y="805"/>
                  </a:lnTo>
                  <a:lnTo>
                    <a:pt x="1610" y="805"/>
                  </a:lnTo>
                  <a:lnTo>
                    <a:pt x="1610" y="465"/>
                  </a:lnTo>
                  <a:lnTo>
                    <a:pt x="737" y="465"/>
                  </a:lnTo>
                  <a:close/>
                  <a:moveTo>
                    <a:pt x="373" y="449"/>
                  </a:moveTo>
                  <a:lnTo>
                    <a:pt x="341" y="453"/>
                  </a:lnTo>
                  <a:lnTo>
                    <a:pt x="311" y="462"/>
                  </a:lnTo>
                  <a:lnTo>
                    <a:pt x="283" y="477"/>
                  </a:lnTo>
                  <a:lnTo>
                    <a:pt x="260" y="496"/>
                  </a:lnTo>
                  <a:lnTo>
                    <a:pt x="241" y="520"/>
                  </a:lnTo>
                  <a:lnTo>
                    <a:pt x="226" y="547"/>
                  </a:lnTo>
                  <a:lnTo>
                    <a:pt x="217" y="577"/>
                  </a:lnTo>
                  <a:lnTo>
                    <a:pt x="213" y="609"/>
                  </a:lnTo>
                  <a:lnTo>
                    <a:pt x="213" y="3025"/>
                  </a:lnTo>
                  <a:lnTo>
                    <a:pt x="217" y="3056"/>
                  </a:lnTo>
                  <a:lnTo>
                    <a:pt x="226" y="3086"/>
                  </a:lnTo>
                  <a:lnTo>
                    <a:pt x="241" y="3113"/>
                  </a:lnTo>
                  <a:lnTo>
                    <a:pt x="260" y="3136"/>
                  </a:lnTo>
                  <a:lnTo>
                    <a:pt x="283" y="3155"/>
                  </a:lnTo>
                  <a:lnTo>
                    <a:pt x="311" y="3170"/>
                  </a:lnTo>
                  <a:lnTo>
                    <a:pt x="341" y="3180"/>
                  </a:lnTo>
                  <a:lnTo>
                    <a:pt x="373" y="3183"/>
                  </a:lnTo>
                  <a:lnTo>
                    <a:pt x="1974" y="3183"/>
                  </a:lnTo>
                  <a:lnTo>
                    <a:pt x="2006" y="3180"/>
                  </a:lnTo>
                  <a:lnTo>
                    <a:pt x="2036" y="3170"/>
                  </a:lnTo>
                  <a:lnTo>
                    <a:pt x="2064" y="3155"/>
                  </a:lnTo>
                  <a:lnTo>
                    <a:pt x="2087" y="3136"/>
                  </a:lnTo>
                  <a:lnTo>
                    <a:pt x="2107" y="3113"/>
                  </a:lnTo>
                  <a:lnTo>
                    <a:pt x="2122" y="3086"/>
                  </a:lnTo>
                  <a:lnTo>
                    <a:pt x="2131" y="3056"/>
                  </a:lnTo>
                  <a:lnTo>
                    <a:pt x="2134" y="3025"/>
                  </a:lnTo>
                  <a:lnTo>
                    <a:pt x="2134" y="609"/>
                  </a:lnTo>
                  <a:lnTo>
                    <a:pt x="2131" y="577"/>
                  </a:lnTo>
                  <a:lnTo>
                    <a:pt x="2122" y="547"/>
                  </a:lnTo>
                  <a:lnTo>
                    <a:pt x="2107" y="520"/>
                  </a:lnTo>
                  <a:lnTo>
                    <a:pt x="2087" y="496"/>
                  </a:lnTo>
                  <a:lnTo>
                    <a:pt x="2064" y="477"/>
                  </a:lnTo>
                  <a:lnTo>
                    <a:pt x="2036" y="462"/>
                  </a:lnTo>
                  <a:lnTo>
                    <a:pt x="2006" y="453"/>
                  </a:lnTo>
                  <a:lnTo>
                    <a:pt x="1974" y="449"/>
                  </a:lnTo>
                  <a:lnTo>
                    <a:pt x="1821" y="449"/>
                  </a:lnTo>
                  <a:lnTo>
                    <a:pt x="1821" y="829"/>
                  </a:lnTo>
                  <a:lnTo>
                    <a:pt x="1818" y="862"/>
                  </a:lnTo>
                  <a:lnTo>
                    <a:pt x="1809" y="894"/>
                  </a:lnTo>
                  <a:lnTo>
                    <a:pt x="1795" y="923"/>
                  </a:lnTo>
                  <a:lnTo>
                    <a:pt x="1777" y="948"/>
                  </a:lnTo>
                  <a:lnTo>
                    <a:pt x="1755" y="971"/>
                  </a:lnTo>
                  <a:lnTo>
                    <a:pt x="1729" y="989"/>
                  </a:lnTo>
                  <a:lnTo>
                    <a:pt x="1700" y="1003"/>
                  </a:lnTo>
                  <a:lnTo>
                    <a:pt x="1668" y="1011"/>
                  </a:lnTo>
                  <a:lnTo>
                    <a:pt x="1635" y="1014"/>
                  </a:lnTo>
                  <a:lnTo>
                    <a:pt x="712" y="1014"/>
                  </a:lnTo>
                  <a:lnTo>
                    <a:pt x="679" y="1011"/>
                  </a:lnTo>
                  <a:lnTo>
                    <a:pt x="647" y="1003"/>
                  </a:lnTo>
                  <a:lnTo>
                    <a:pt x="618" y="989"/>
                  </a:lnTo>
                  <a:lnTo>
                    <a:pt x="592" y="971"/>
                  </a:lnTo>
                  <a:lnTo>
                    <a:pt x="570" y="948"/>
                  </a:lnTo>
                  <a:lnTo>
                    <a:pt x="552" y="923"/>
                  </a:lnTo>
                  <a:lnTo>
                    <a:pt x="538" y="894"/>
                  </a:lnTo>
                  <a:lnTo>
                    <a:pt x="529" y="862"/>
                  </a:lnTo>
                  <a:lnTo>
                    <a:pt x="526" y="829"/>
                  </a:lnTo>
                  <a:lnTo>
                    <a:pt x="526" y="449"/>
                  </a:lnTo>
                  <a:lnTo>
                    <a:pt x="373" y="449"/>
                  </a:lnTo>
                  <a:close/>
                  <a:moveTo>
                    <a:pt x="1174" y="73"/>
                  </a:moveTo>
                  <a:lnTo>
                    <a:pt x="1152" y="75"/>
                  </a:lnTo>
                  <a:lnTo>
                    <a:pt x="1132" y="84"/>
                  </a:lnTo>
                  <a:lnTo>
                    <a:pt x="1116" y="96"/>
                  </a:lnTo>
                  <a:lnTo>
                    <a:pt x="1104" y="112"/>
                  </a:lnTo>
                  <a:lnTo>
                    <a:pt x="1096" y="131"/>
                  </a:lnTo>
                  <a:lnTo>
                    <a:pt x="1093" y="153"/>
                  </a:lnTo>
                  <a:lnTo>
                    <a:pt x="1096" y="174"/>
                  </a:lnTo>
                  <a:lnTo>
                    <a:pt x="1104" y="193"/>
                  </a:lnTo>
                  <a:lnTo>
                    <a:pt x="1116" y="209"/>
                  </a:lnTo>
                  <a:lnTo>
                    <a:pt x="1132" y="222"/>
                  </a:lnTo>
                  <a:lnTo>
                    <a:pt x="1152" y="230"/>
                  </a:lnTo>
                  <a:lnTo>
                    <a:pt x="1174" y="234"/>
                  </a:lnTo>
                  <a:lnTo>
                    <a:pt x="1195" y="230"/>
                  </a:lnTo>
                  <a:lnTo>
                    <a:pt x="1215" y="222"/>
                  </a:lnTo>
                  <a:lnTo>
                    <a:pt x="1231" y="209"/>
                  </a:lnTo>
                  <a:lnTo>
                    <a:pt x="1244" y="193"/>
                  </a:lnTo>
                  <a:lnTo>
                    <a:pt x="1251" y="174"/>
                  </a:lnTo>
                  <a:lnTo>
                    <a:pt x="1254" y="153"/>
                  </a:lnTo>
                  <a:lnTo>
                    <a:pt x="1251" y="131"/>
                  </a:lnTo>
                  <a:lnTo>
                    <a:pt x="1244" y="112"/>
                  </a:lnTo>
                  <a:lnTo>
                    <a:pt x="1231" y="96"/>
                  </a:lnTo>
                  <a:lnTo>
                    <a:pt x="1215" y="84"/>
                  </a:lnTo>
                  <a:lnTo>
                    <a:pt x="1195" y="75"/>
                  </a:lnTo>
                  <a:lnTo>
                    <a:pt x="1174" y="73"/>
                  </a:lnTo>
                  <a:close/>
                  <a:moveTo>
                    <a:pt x="989" y="0"/>
                  </a:moveTo>
                  <a:lnTo>
                    <a:pt x="1358" y="0"/>
                  </a:lnTo>
                  <a:lnTo>
                    <a:pt x="1390" y="3"/>
                  </a:lnTo>
                  <a:lnTo>
                    <a:pt x="1421" y="12"/>
                  </a:lnTo>
                  <a:lnTo>
                    <a:pt x="1449" y="27"/>
                  </a:lnTo>
                  <a:lnTo>
                    <a:pt x="1472" y="47"/>
                  </a:lnTo>
                  <a:lnTo>
                    <a:pt x="1493" y="71"/>
                  </a:lnTo>
                  <a:lnTo>
                    <a:pt x="1507" y="98"/>
                  </a:lnTo>
                  <a:lnTo>
                    <a:pt x="1516" y="128"/>
                  </a:lnTo>
                  <a:lnTo>
                    <a:pt x="1519" y="161"/>
                  </a:lnTo>
                  <a:lnTo>
                    <a:pt x="1519" y="238"/>
                  </a:lnTo>
                  <a:lnTo>
                    <a:pt x="1974" y="238"/>
                  </a:lnTo>
                  <a:lnTo>
                    <a:pt x="2021" y="241"/>
                  </a:lnTo>
                  <a:lnTo>
                    <a:pt x="2066" y="250"/>
                  </a:lnTo>
                  <a:lnTo>
                    <a:pt x="2109" y="262"/>
                  </a:lnTo>
                  <a:lnTo>
                    <a:pt x="2149" y="281"/>
                  </a:lnTo>
                  <a:lnTo>
                    <a:pt x="2187" y="304"/>
                  </a:lnTo>
                  <a:lnTo>
                    <a:pt x="2222" y="331"/>
                  </a:lnTo>
                  <a:lnTo>
                    <a:pt x="2253" y="362"/>
                  </a:lnTo>
                  <a:lnTo>
                    <a:pt x="2281" y="397"/>
                  </a:lnTo>
                  <a:lnTo>
                    <a:pt x="2303" y="435"/>
                  </a:lnTo>
                  <a:lnTo>
                    <a:pt x="2323" y="475"/>
                  </a:lnTo>
                  <a:lnTo>
                    <a:pt x="2336" y="518"/>
                  </a:lnTo>
                  <a:lnTo>
                    <a:pt x="2344" y="562"/>
                  </a:lnTo>
                  <a:lnTo>
                    <a:pt x="2347" y="609"/>
                  </a:lnTo>
                  <a:lnTo>
                    <a:pt x="2347" y="3025"/>
                  </a:lnTo>
                  <a:lnTo>
                    <a:pt x="2344" y="3070"/>
                  </a:lnTo>
                  <a:lnTo>
                    <a:pt x="2335" y="3115"/>
                  </a:lnTo>
                  <a:lnTo>
                    <a:pt x="2323" y="3159"/>
                  </a:lnTo>
                  <a:lnTo>
                    <a:pt x="2303" y="3198"/>
                  </a:lnTo>
                  <a:lnTo>
                    <a:pt x="2281" y="3236"/>
                  </a:lnTo>
                  <a:lnTo>
                    <a:pt x="2253" y="3270"/>
                  </a:lnTo>
                  <a:lnTo>
                    <a:pt x="2222" y="3301"/>
                  </a:lnTo>
                  <a:lnTo>
                    <a:pt x="2187" y="3329"/>
                  </a:lnTo>
                  <a:lnTo>
                    <a:pt x="2149" y="3352"/>
                  </a:lnTo>
                  <a:lnTo>
                    <a:pt x="2109" y="3370"/>
                  </a:lnTo>
                  <a:lnTo>
                    <a:pt x="2066" y="3384"/>
                  </a:lnTo>
                  <a:lnTo>
                    <a:pt x="2021" y="3393"/>
                  </a:lnTo>
                  <a:lnTo>
                    <a:pt x="1974" y="3396"/>
                  </a:lnTo>
                  <a:lnTo>
                    <a:pt x="373" y="3396"/>
                  </a:lnTo>
                  <a:lnTo>
                    <a:pt x="326" y="3393"/>
                  </a:lnTo>
                  <a:lnTo>
                    <a:pt x="281" y="3384"/>
                  </a:lnTo>
                  <a:lnTo>
                    <a:pt x="238" y="3370"/>
                  </a:lnTo>
                  <a:lnTo>
                    <a:pt x="198" y="3352"/>
                  </a:lnTo>
                  <a:lnTo>
                    <a:pt x="160" y="3329"/>
                  </a:lnTo>
                  <a:lnTo>
                    <a:pt x="125" y="3301"/>
                  </a:lnTo>
                  <a:lnTo>
                    <a:pt x="94" y="3270"/>
                  </a:lnTo>
                  <a:lnTo>
                    <a:pt x="66" y="3236"/>
                  </a:lnTo>
                  <a:lnTo>
                    <a:pt x="44" y="3198"/>
                  </a:lnTo>
                  <a:lnTo>
                    <a:pt x="25" y="3159"/>
                  </a:lnTo>
                  <a:lnTo>
                    <a:pt x="11" y="3115"/>
                  </a:lnTo>
                  <a:lnTo>
                    <a:pt x="3" y="3070"/>
                  </a:lnTo>
                  <a:lnTo>
                    <a:pt x="0" y="3025"/>
                  </a:lnTo>
                  <a:lnTo>
                    <a:pt x="0" y="609"/>
                  </a:lnTo>
                  <a:lnTo>
                    <a:pt x="3" y="562"/>
                  </a:lnTo>
                  <a:lnTo>
                    <a:pt x="11" y="518"/>
                  </a:lnTo>
                  <a:lnTo>
                    <a:pt x="25" y="475"/>
                  </a:lnTo>
                  <a:lnTo>
                    <a:pt x="44" y="435"/>
                  </a:lnTo>
                  <a:lnTo>
                    <a:pt x="66" y="397"/>
                  </a:lnTo>
                  <a:lnTo>
                    <a:pt x="94" y="362"/>
                  </a:lnTo>
                  <a:lnTo>
                    <a:pt x="125" y="331"/>
                  </a:lnTo>
                  <a:lnTo>
                    <a:pt x="160" y="304"/>
                  </a:lnTo>
                  <a:lnTo>
                    <a:pt x="198" y="281"/>
                  </a:lnTo>
                  <a:lnTo>
                    <a:pt x="238" y="262"/>
                  </a:lnTo>
                  <a:lnTo>
                    <a:pt x="281" y="250"/>
                  </a:lnTo>
                  <a:lnTo>
                    <a:pt x="326" y="241"/>
                  </a:lnTo>
                  <a:lnTo>
                    <a:pt x="373" y="238"/>
                  </a:lnTo>
                  <a:lnTo>
                    <a:pt x="828" y="238"/>
                  </a:lnTo>
                  <a:lnTo>
                    <a:pt x="828" y="161"/>
                  </a:lnTo>
                  <a:lnTo>
                    <a:pt x="831" y="128"/>
                  </a:lnTo>
                  <a:lnTo>
                    <a:pt x="840" y="98"/>
                  </a:lnTo>
                  <a:lnTo>
                    <a:pt x="855" y="71"/>
                  </a:lnTo>
                  <a:lnTo>
                    <a:pt x="875" y="47"/>
                  </a:lnTo>
                  <a:lnTo>
                    <a:pt x="898" y="27"/>
                  </a:lnTo>
                  <a:lnTo>
                    <a:pt x="926" y="12"/>
                  </a:lnTo>
                  <a:lnTo>
                    <a:pt x="956" y="3"/>
                  </a:lnTo>
                  <a:lnTo>
                    <a:pt x="98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0" name="Freeform 92">
              <a:extLst>
                <a:ext uri="{FF2B5EF4-FFF2-40B4-BE49-F238E27FC236}">
                  <a16:creationId xmlns:a16="http://schemas.microsoft.com/office/drawing/2014/main" id="{0BDF7109-C79B-0562-57A2-2DC41C8971D9}"/>
                </a:ext>
              </a:extLst>
            </p:cNvPr>
            <p:cNvSpPr>
              <a:spLocks noEditPoints="1"/>
            </p:cNvSpPr>
            <p:nvPr/>
          </p:nvSpPr>
          <p:spPr bwMode="auto">
            <a:xfrm>
              <a:off x="-1041401" y="2757488"/>
              <a:ext cx="96838" cy="79375"/>
            </a:xfrm>
            <a:custGeom>
              <a:avLst/>
              <a:gdLst>
                <a:gd name="T0" fmla="*/ 75 w 546"/>
                <a:gd name="T1" fmla="*/ 69 h 453"/>
                <a:gd name="T2" fmla="*/ 60 w 546"/>
                <a:gd name="T3" fmla="*/ 83 h 453"/>
                <a:gd name="T4" fmla="*/ 58 w 546"/>
                <a:gd name="T5" fmla="*/ 367 h 453"/>
                <a:gd name="T6" fmla="*/ 66 w 546"/>
                <a:gd name="T7" fmla="*/ 388 h 453"/>
                <a:gd name="T8" fmla="*/ 86 w 546"/>
                <a:gd name="T9" fmla="*/ 395 h 453"/>
                <a:gd name="T10" fmla="*/ 345 w 546"/>
                <a:gd name="T11" fmla="*/ 393 h 453"/>
                <a:gd name="T12" fmla="*/ 361 w 546"/>
                <a:gd name="T13" fmla="*/ 378 h 453"/>
                <a:gd name="T14" fmla="*/ 363 w 546"/>
                <a:gd name="T15" fmla="*/ 290 h 453"/>
                <a:gd name="T16" fmla="*/ 292 w 546"/>
                <a:gd name="T17" fmla="*/ 372 h 453"/>
                <a:gd name="T18" fmla="*/ 265 w 546"/>
                <a:gd name="T19" fmla="*/ 380 h 453"/>
                <a:gd name="T20" fmla="*/ 249 w 546"/>
                <a:gd name="T21" fmla="*/ 379 h 453"/>
                <a:gd name="T22" fmla="*/ 225 w 546"/>
                <a:gd name="T23" fmla="*/ 366 h 453"/>
                <a:gd name="T24" fmla="*/ 91 w 546"/>
                <a:gd name="T25" fmla="*/ 238 h 453"/>
                <a:gd name="T26" fmla="*/ 84 w 546"/>
                <a:gd name="T27" fmla="*/ 206 h 453"/>
                <a:gd name="T28" fmla="*/ 98 w 546"/>
                <a:gd name="T29" fmla="*/ 176 h 453"/>
                <a:gd name="T30" fmla="*/ 127 w 546"/>
                <a:gd name="T31" fmla="*/ 160 h 453"/>
                <a:gd name="T32" fmla="*/ 159 w 546"/>
                <a:gd name="T33" fmla="*/ 164 h 453"/>
                <a:gd name="T34" fmla="*/ 218 w 546"/>
                <a:gd name="T35" fmla="*/ 214 h 453"/>
                <a:gd name="T36" fmla="*/ 248 w 546"/>
                <a:gd name="T37" fmla="*/ 228 h 453"/>
                <a:gd name="T38" fmla="*/ 279 w 546"/>
                <a:gd name="T39" fmla="*/ 221 h 453"/>
                <a:gd name="T40" fmla="*/ 363 w 546"/>
                <a:gd name="T41" fmla="*/ 125 h 453"/>
                <a:gd name="T42" fmla="*/ 361 w 546"/>
                <a:gd name="T43" fmla="*/ 83 h 453"/>
                <a:gd name="T44" fmla="*/ 345 w 546"/>
                <a:gd name="T45" fmla="*/ 69 h 453"/>
                <a:gd name="T46" fmla="*/ 86 w 546"/>
                <a:gd name="T47" fmla="*/ 66 h 453"/>
                <a:gd name="T48" fmla="*/ 513 w 546"/>
                <a:gd name="T49" fmla="*/ 4 h 453"/>
                <a:gd name="T50" fmla="*/ 539 w 546"/>
                <a:gd name="T51" fmla="*/ 25 h 453"/>
                <a:gd name="T52" fmla="*/ 546 w 546"/>
                <a:gd name="T53" fmla="*/ 57 h 453"/>
                <a:gd name="T54" fmla="*/ 533 w 546"/>
                <a:gd name="T55" fmla="*/ 87 h 453"/>
                <a:gd name="T56" fmla="*/ 421 w 546"/>
                <a:gd name="T57" fmla="*/ 367 h 453"/>
                <a:gd name="T58" fmla="*/ 409 w 546"/>
                <a:gd name="T59" fmla="*/ 410 h 453"/>
                <a:gd name="T60" fmla="*/ 378 w 546"/>
                <a:gd name="T61" fmla="*/ 441 h 453"/>
                <a:gd name="T62" fmla="*/ 335 w 546"/>
                <a:gd name="T63" fmla="*/ 453 h 453"/>
                <a:gd name="T64" fmla="*/ 63 w 546"/>
                <a:gd name="T65" fmla="*/ 449 h 453"/>
                <a:gd name="T66" fmla="*/ 26 w 546"/>
                <a:gd name="T67" fmla="*/ 428 h 453"/>
                <a:gd name="T68" fmla="*/ 3 w 546"/>
                <a:gd name="T69" fmla="*/ 390 h 453"/>
                <a:gd name="T70" fmla="*/ 0 w 546"/>
                <a:gd name="T71" fmla="*/ 95 h 453"/>
                <a:gd name="T72" fmla="*/ 12 w 546"/>
                <a:gd name="T73" fmla="*/ 52 h 453"/>
                <a:gd name="T74" fmla="*/ 43 w 546"/>
                <a:gd name="T75" fmla="*/ 21 h 453"/>
                <a:gd name="T76" fmla="*/ 86 w 546"/>
                <a:gd name="T77" fmla="*/ 9 h 453"/>
                <a:gd name="T78" fmla="*/ 356 w 546"/>
                <a:gd name="T79" fmla="*/ 11 h 453"/>
                <a:gd name="T80" fmla="*/ 391 w 546"/>
                <a:gd name="T81" fmla="*/ 30 h 453"/>
                <a:gd name="T82" fmla="*/ 415 w 546"/>
                <a:gd name="T83" fmla="*/ 63 h 453"/>
                <a:gd name="T84" fmla="*/ 465 w 546"/>
                <a:gd name="T85" fmla="*/ 8 h 453"/>
                <a:gd name="T86" fmla="*/ 497 w 546"/>
                <a:gd name="T87" fmla="*/ 0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6" h="453">
                  <a:moveTo>
                    <a:pt x="86" y="66"/>
                  </a:moveTo>
                  <a:lnTo>
                    <a:pt x="75" y="69"/>
                  </a:lnTo>
                  <a:lnTo>
                    <a:pt x="66" y="75"/>
                  </a:lnTo>
                  <a:lnTo>
                    <a:pt x="60" y="83"/>
                  </a:lnTo>
                  <a:lnTo>
                    <a:pt x="58" y="95"/>
                  </a:lnTo>
                  <a:lnTo>
                    <a:pt x="58" y="367"/>
                  </a:lnTo>
                  <a:lnTo>
                    <a:pt x="60" y="378"/>
                  </a:lnTo>
                  <a:lnTo>
                    <a:pt x="66" y="388"/>
                  </a:lnTo>
                  <a:lnTo>
                    <a:pt x="75" y="393"/>
                  </a:lnTo>
                  <a:lnTo>
                    <a:pt x="86" y="395"/>
                  </a:lnTo>
                  <a:lnTo>
                    <a:pt x="335" y="395"/>
                  </a:lnTo>
                  <a:lnTo>
                    <a:pt x="345" y="393"/>
                  </a:lnTo>
                  <a:lnTo>
                    <a:pt x="355" y="388"/>
                  </a:lnTo>
                  <a:lnTo>
                    <a:pt x="361" y="378"/>
                  </a:lnTo>
                  <a:lnTo>
                    <a:pt x="363" y="367"/>
                  </a:lnTo>
                  <a:lnTo>
                    <a:pt x="363" y="290"/>
                  </a:lnTo>
                  <a:lnTo>
                    <a:pt x="302" y="362"/>
                  </a:lnTo>
                  <a:lnTo>
                    <a:pt x="292" y="372"/>
                  </a:lnTo>
                  <a:lnTo>
                    <a:pt x="279" y="378"/>
                  </a:lnTo>
                  <a:lnTo>
                    <a:pt x="265" y="380"/>
                  </a:lnTo>
                  <a:lnTo>
                    <a:pt x="262" y="380"/>
                  </a:lnTo>
                  <a:lnTo>
                    <a:pt x="249" y="379"/>
                  </a:lnTo>
                  <a:lnTo>
                    <a:pt x="236" y="374"/>
                  </a:lnTo>
                  <a:lnTo>
                    <a:pt x="225" y="366"/>
                  </a:lnTo>
                  <a:lnTo>
                    <a:pt x="101" y="252"/>
                  </a:lnTo>
                  <a:lnTo>
                    <a:pt x="91" y="238"/>
                  </a:lnTo>
                  <a:lnTo>
                    <a:pt x="85" y="223"/>
                  </a:lnTo>
                  <a:lnTo>
                    <a:pt x="84" y="206"/>
                  </a:lnTo>
                  <a:lnTo>
                    <a:pt x="89" y="191"/>
                  </a:lnTo>
                  <a:lnTo>
                    <a:pt x="98" y="176"/>
                  </a:lnTo>
                  <a:lnTo>
                    <a:pt x="112" y="166"/>
                  </a:lnTo>
                  <a:lnTo>
                    <a:pt x="127" y="160"/>
                  </a:lnTo>
                  <a:lnTo>
                    <a:pt x="143" y="160"/>
                  </a:lnTo>
                  <a:lnTo>
                    <a:pt x="159" y="164"/>
                  </a:lnTo>
                  <a:lnTo>
                    <a:pt x="173" y="174"/>
                  </a:lnTo>
                  <a:lnTo>
                    <a:pt x="218" y="214"/>
                  </a:lnTo>
                  <a:lnTo>
                    <a:pt x="232" y="224"/>
                  </a:lnTo>
                  <a:lnTo>
                    <a:pt x="248" y="228"/>
                  </a:lnTo>
                  <a:lnTo>
                    <a:pt x="264" y="227"/>
                  </a:lnTo>
                  <a:lnTo>
                    <a:pt x="279" y="221"/>
                  </a:lnTo>
                  <a:lnTo>
                    <a:pt x="292" y="210"/>
                  </a:lnTo>
                  <a:lnTo>
                    <a:pt x="363" y="125"/>
                  </a:lnTo>
                  <a:lnTo>
                    <a:pt x="363" y="95"/>
                  </a:lnTo>
                  <a:lnTo>
                    <a:pt x="361" y="83"/>
                  </a:lnTo>
                  <a:lnTo>
                    <a:pt x="355" y="75"/>
                  </a:lnTo>
                  <a:lnTo>
                    <a:pt x="345" y="69"/>
                  </a:lnTo>
                  <a:lnTo>
                    <a:pt x="335" y="66"/>
                  </a:lnTo>
                  <a:lnTo>
                    <a:pt x="86" y="66"/>
                  </a:lnTo>
                  <a:close/>
                  <a:moveTo>
                    <a:pt x="497" y="0"/>
                  </a:moveTo>
                  <a:lnTo>
                    <a:pt x="513" y="4"/>
                  </a:lnTo>
                  <a:lnTo>
                    <a:pt x="527" y="12"/>
                  </a:lnTo>
                  <a:lnTo>
                    <a:pt x="539" y="25"/>
                  </a:lnTo>
                  <a:lnTo>
                    <a:pt x="545" y="41"/>
                  </a:lnTo>
                  <a:lnTo>
                    <a:pt x="546" y="57"/>
                  </a:lnTo>
                  <a:lnTo>
                    <a:pt x="543" y="73"/>
                  </a:lnTo>
                  <a:lnTo>
                    <a:pt x="533" y="87"/>
                  </a:lnTo>
                  <a:lnTo>
                    <a:pt x="421" y="221"/>
                  </a:lnTo>
                  <a:lnTo>
                    <a:pt x="421" y="367"/>
                  </a:lnTo>
                  <a:lnTo>
                    <a:pt x="418" y="390"/>
                  </a:lnTo>
                  <a:lnTo>
                    <a:pt x="409" y="410"/>
                  </a:lnTo>
                  <a:lnTo>
                    <a:pt x="396" y="428"/>
                  </a:lnTo>
                  <a:lnTo>
                    <a:pt x="378" y="441"/>
                  </a:lnTo>
                  <a:lnTo>
                    <a:pt x="357" y="449"/>
                  </a:lnTo>
                  <a:lnTo>
                    <a:pt x="335" y="453"/>
                  </a:lnTo>
                  <a:lnTo>
                    <a:pt x="86" y="453"/>
                  </a:lnTo>
                  <a:lnTo>
                    <a:pt x="63" y="449"/>
                  </a:lnTo>
                  <a:lnTo>
                    <a:pt x="43" y="441"/>
                  </a:lnTo>
                  <a:lnTo>
                    <a:pt x="26" y="428"/>
                  </a:lnTo>
                  <a:lnTo>
                    <a:pt x="12" y="410"/>
                  </a:lnTo>
                  <a:lnTo>
                    <a:pt x="3" y="390"/>
                  </a:lnTo>
                  <a:lnTo>
                    <a:pt x="0" y="367"/>
                  </a:lnTo>
                  <a:lnTo>
                    <a:pt x="0" y="95"/>
                  </a:lnTo>
                  <a:lnTo>
                    <a:pt x="3" y="72"/>
                  </a:lnTo>
                  <a:lnTo>
                    <a:pt x="12" y="52"/>
                  </a:lnTo>
                  <a:lnTo>
                    <a:pt x="26" y="33"/>
                  </a:lnTo>
                  <a:lnTo>
                    <a:pt x="43" y="21"/>
                  </a:lnTo>
                  <a:lnTo>
                    <a:pt x="63" y="12"/>
                  </a:lnTo>
                  <a:lnTo>
                    <a:pt x="86" y="9"/>
                  </a:lnTo>
                  <a:lnTo>
                    <a:pt x="335" y="9"/>
                  </a:lnTo>
                  <a:lnTo>
                    <a:pt x="356" y="11"/>
                  </a:lnTo>
                  <a:lnTo>
                    <a:pt x="375" y="19"/>
                  </a:lnTo>
                  <a:lnTo>
                    <a:pt x="391" y="30"/>
                  </a:lnTo>
                  <a:lnTo>
                    <a:pt x="405" y="45"/>
                  </a:lnTo>
                  <a:lnTo>
                    <a:pt x="415" y="63"/>
                  </a:lnTo>
                  <a:lnTo>
                    <a:pt x="452" y="20"/>
                  </a:lnTo>
                  <a:lnTo>
                    <a:pt x="465" y="8"/>
                  </a:lnTo>
                  <a:lnTo>
                    <a:pt x="480" y="2"/>
                  </a:lnTo>
                  <a:lnTo>
                    <a:pt x="497"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1" name="Freeform 93">
              <a:extLst>
                <a:ext uri="{FF2B5EF4-FFF2-40B4-BE49-F238E27FC236}">
                  <a16:creationId xmlns:a16="http://schemas.microsoft.com/office/drawing/2014/main" id="{F97623F3-A1F4-69CF-641C-B5151284B4C4}"/>
                </a:ext>
              </a:extLst>
            </p:cNvPr>
            <p:cNvSpPr>
              <a:spLocks noEditPoints="1"/>
            </p:cNvSpPr>
            <p:nvPr/>
          </p:nvSpPr>
          <p:spPr bwMode="auto">
            <a:xfrm>
              <a:off x="-1041401" y="2859088"/>
              <a:ext cx="96838" cy="82550"/>
            </a:xfrm>
            <a:custGeom>
              <a:avLst/>
              <a:gdLst>
                <a:gd name="T0" fmla="*/ 75 w 546"/>
                <a:gd name="T1" fmla="*/ 80 h 465"/>
                <a:gd name="T2" fmla="*/ 60 w 546"/>
                <a:gd name="T3" fmla="*/ 96 h 465"/>
                <a:gd name="T4" fmla="*/ 58 w 546"/>
                <a:gd name="T5" fmla="*/ 379 h 465"/>
                <a:gd name="T6" fmla="*/ 66 w 546"/>
                <a:gd name="T7" fmla="*/ 399 h 465"/>
                <a:gd name="T8" fmla="*/ 86 w 546"/>
                <a:gd name="T9" fmla="*/ 407 h 465"/>
                <a:gd name="T10" fmla="*/ 345 w 546"/>
                <a:gd name="T11" fmla="*/ 405 h 465"/>
                <a:gd name="T12" fmla="*/ 361 w 546"/>
                <a:gd name="T13" fmla="*/ 390 h 465"/>
                <a:gd name="T14" fmla="*/ 363 w 546"/>
                <a:gd name="T15" fmla="*/ 289 h 465"/>
                <a:gd name="T16" fmla="*/ 292 w 546"/>
                <a:gd name="T17" fmla="*/ 370 h 465"/>
                <a:gd name="T18" fmla="*/ 265 w 546"/>
                <a:gd name="T19" fmla="*/ 380 h 465"/>
                <a:gd name="T20" fmla="*/ 249 w 546"/>
                <a:gd name="T21" fmla="*/ 378 h 465"/>
                <a:gd name="T22" fmla="*/ 225 w 546"/>
                <a:gd name="T23" fmla="*/ 366 h 465"/>
                <a:gd name="T24" fmla="*/ 91 w 546"/>
                <a:gd name="T25" fmla="*/ 237 h 465"/>
                <a:gd name="T26" fmla="*/ 84 w 546"/>
                <a:gd name="T27" fmla="*/ 205 h 465"/>
                <a:gd name="T28" fmla="*/ 98 w 546"/>
                <a:gd name="T29" fmla="*/ 176 h 465"/>
                <a:gd name="T30" fmla="*/ 127 w 546"/>
                <a:gd name="T31" fmla="*/ 160 h 465"/>
                <a:gd name="T32" fmla="*/ 159 w 546"/>
                <a:gd name="T33" fmla="*/ 164 h 465"/>
                <a:gd name="T34" fmla="*/ 218 w 546"/>
                <a:gd name="T35" fmla="*/ 214 h 465"/>
                <a:gd name="T36" fmla="*/ 248 w 546"/>
                <a:gd name="T37" fmla="*/ 228 h 465"/>
                <a:gd name="T38" fmla="*/ 279 w 546"/>
                <a:gd name="T39" fmla="*/ 220 h 465"/>
                <a:gd name="T40" fmla="*/ 363 w 546"/>
                <a:gd name="T41" fmla="*/ 123 h 465"/>
                <a:gd name="T42" fmla="*/ 361 w 546"/>
                <a:gd name="T43" fmla="*/ 96 h 465"/>
                <a:gd name="T44" fmla="*/ 345 w 546"/>
                <a:gd name="T45" fmla="*/ 80 h 465"/>
                <a:gd name="T46" fmla="*/ 86 w 546"/>
                <a:gd name="T47" fmla="*/ 78 h 465"/>
                <a:gd name="T48" fmla="*/ 513 w 546"/>
                <a:gd name="T49" fmla="*/ 3 h 465"/>
                <a:gd name="T50" fmla="*/ 539 w 546"/>
                <a:gd name="T51" fmla="*/ 25 h 465"/>
                <a:gd name="T52" fmla="*/ 546 w 546"/>
                <a:gd name="T53" fmla="*/ 55 h 465"/>
                <a:gd name="T54" fmla="*/ 533 w 546"/>
                <a:gd name="T55" fmla="*/ 86 h 465"/>
                <a:gd name="T56" fmla="*/ 421 w 546"/>
                <a:gd name="T57" fmla="*/ 379 h 465"/>
                <a:gd name="T58" fmla="*/ 409 w 546"/>
                <a:gd name="T59" fmla="*/ 422 h 465"/>
                <a:gd name="T60" fmla="*/ 378 w 546"/>
                <a:gd name="T61" fmla="*/ 453 h 465"/>
                <a:gd name="T62" fmla="*/ 335 w 546"/>
                <a:gd name="T63" fmla="*/ 465 h 465"/>
                <a:gd name="T64" fmla="*/ 63 w 546"/>
                <a:gd name="T65" fmla="*/ 462 h 465"/>
                <a:gd name="T66" fmla="*/ 26 w 546"/>
                <a:gd name="T67" fmla="*/ 439 h 465"/>
                <a:gd name="T68" fmla="*/ 3 w 546"/>
                <a:gd name="T69" fmla="*/ 402 h 465"/>
                <a:gd name="T70" fmla="*/ 0 w 546"/>
                <a:gd name="T71" fmla="*/ 106 h 465"/>
                <a:gd name="T72" fmla="*/ 12 w 546"/>
                <a:gd name="T73" fmla="*/ 63 h 465"/>
                <a:gd name="T74" fmla="*/ 43 w 546"/>
                <a:gd name="T75" fmla="*/ 32 h 465"/>
                <a:gd name="T76" fmla="*/ 86 w 546"/>
                <a:gd name="T77" fmla="*/ 20 h 465"/>
                <a:gd name="T78" fmla="*/ 354 w 546"/>
                <a:gd name="T79" fmla="*/ 22 h 465"/>
                <a:gd name="T80" fmla="*/ 387 w 546"/>
                <a:gd name="T81" fmla="*/ 39 h 465"/>
                <a:gd name="T82" fmla="*/ 410 w 546"/>
                <a:gd name="T83" fmla="*/ 67 h 465"/>
                <a:gd name="T84" fmla="*/ 465 w 546"/>
                <a:gd name="T85" fmla="*/ 7 h 465"/>
                <a:gd name="T86" fmla="*/ 497 w 546"/>
                <a:gd name="T87" fmla="*/ 0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6" h="465">
                  <a:moveTo>
                    <a:pt x="86" y="78"/>
                  </a:moveTo>
                  <a:lnTo>
                    <a:pt x="75" y="80"/>
                  </a:lnTo>
                  <a:lnTo>
                    <a:pt x="66" y="86"/>
                  </a:lnTo>
                  <a:lnTo>
                    <a:pt x="60" y="96"/>
                  </a:lnTo>
                  <a:lnTo>
                    <a:pt x="58" y="106"/>
                  </a:lnTo>
                  <a:lnTo>
                    <a:pt x="58" y="379"/>
                  </a:lnTo>
                  <a:lnTo>
                    <a:pt x="60" y="390"/>
                  </a:lnTo>
                  <a:lnTo>
                    <a:pt x="66" y="399"/>
                  </a:lnTo>
                  <a:lnTo>
                    <a:pt x="75" y="405"/>
                  </a:lnTo>
                  <a:lnTo>
                    <a:pt x="86" y="407"/>
                  </a:lnTo>
                  <a:lnTo>
                    <a:pt x="335" y="407"/>
                  </a:lnTo>
                  <a:lnTo>
                    <a:pt x="345" y="405"/>
                  </a:lnTo>
                  <a:lnTo>
                    <a:pt x="355" y="399"/>
                  </a:lnTo>
                  <a:lnTo>
                    <a:pt x="361" y="390"/>
                  </a:lnTo>
                  <a:lnTo>
                    <a:pt x="363" y="379"/>
                  </a:lnTo>
                  <a:lnTo>
                    <a:pt x="363" y="289"/>
                  </a:lnTo>
                  <a:lnTo>
                    <a:pt x="302" y="361"/>
                  </a:lnTo>
                  <a:lnTo>
                    <a:pt x="292" y="370"/>
                  </a:lnTo>
                  <a:lnTo>
                    <a:pt x="279" y="377"/>
                  </a:lnTo>
                  <a:lnTo>
                    <a:pt x="265" y="380"/>
                  </a:lnTo>
                  <a:lnTo>
                    <a:pt x="262" y="380"/>
                  </a:lnTo>
                  <a:lnTo>
                    <a:pt x="249" y="378"/>
                  </a:lnTo>
                  <a:lnTo>
                    <a:pt x="236" y="373"/>
                  </a:lnTo>
                  <a:lnTo>
                    <a:pt x="225" y="366"/>
                  </a:lnTo>
                  <a:lnTo>
                    <a:pt x="101" y="251"/>
                  </a:lnTo>
                  <a:lnTo>
                    <a:pt x="91" y="237"/>
                  </a:lnTo>
                  <a:lnTo>
                    <a:pt x="85" y="221"/>
                  </a:lnTo>
                  <a:lnTo>
                    <a:pt x="84" y="205"/>
                  </a:lnTo>
                  <a:lnTo>
                    <a:pt x="89" y="189"/>
                  </a:lnTo>
                  <a:lnTo>
                    <a:pt x="98" y="176"/>
                  </a:lnTo>
                  <a:lnTo>
                    <a:pt x="112" y="165"/>
                  </a:lnTo>
                  <a:lnTo>
                    <a:pt x="127" y="160"/>
                  </a:lnTo>
                  <a:lnTo>
                    <a:pt x="143" y="159"/>
                  </a:lnTo>
                  <a:lnTo>
                    <a:pt x="159" y="164"/>
                  </a:lnTo>
                  <a:lnTo>
                    <a:pt x="173" y="173"/>
                  </a:lnTo>
                  <a:lnTo>
                    <a:pt x="218" y="214"/>
                  </a:lnTo>
                  <a:lnTo>
                    <a:pt x="232" y="223"/>
                  </a:lnTo>
                  <a:lnTo>
                    <a:pt x="248" y="228"/>
                  </a:lnTo>
                  <a:lnTo>
                    <a:pt x="264" y="227"/>
                  </a:lnTo>
                  <a:lnTo>
                    <a:pt x="279" y="220"/>
                  </a:lnTo>
                  <a:lnTo>
                    <a:pt x="292" y="210"/>
                  </a:lnTo>
                  <a:lnTo>
                    <a:pt x="363" y="123"/>
                  </a:lnTo>
                  <a:lnTo>
                    <a:pt x="363" y="106"/>
                  </a:lnTo>
                  <a:lnTo>
                    <a:pt x="361" y="96"/>
                  </a:lnTo>
                  <a:lnTo>
                    <a:pt x="355" y="86"/>
                  </a:lnTo>
                  <a:lnTo>
                    <a:pt x="345" y="80"/>
                  </a:lnTo>
                  <a:lnTo>
                    <a:pt x="335" y="78"/>
                  </a:lnTo>
                  <a:lnTo>
                    <a:pt x="86" y="78"/>
                  </a:lnTo>
                  <a:close/>
                  <a:moveTo>
                    <a:pt x="497" y="0"/>
                  </a:moveTo>
                  <a:lnTo>
                    <a:pt x="513" y="3"/>
                  </a:lnTo>
                  <a:lnTo>
                    <a:pt x="527" y="12"/>
                  </a:lnTo>
                  <a:lnTo>
                    <a:pt x="539" y="25"/>
                  </a:lnTo>
                  <a:lnTo>
                    <a:pt x="545" y="39"/>
                  </a:lnTo>
                  <a:lnTo>
                    <a:pt x="546" y="55"/>
                  </a:lnTo>
                  <a:lnTo>
                    <a:pt x="543" y="72"/>
                  </a:lnTo>
                  <a:lnTo>
                    <a:pt x="533" y="86"/>
                  </a:lnTo>
                  <a:lnTo>
                    <a:pt x="421" y="221"/>
                  </a:lnTo>
                  <a:lnTo>
                    <a:pt x="421" y="379"/>
                  </a:lnTo>
                  <a:lnTo>
                    <a:pt x="418" y="402"/>
                  </a:lnTo>
                  <a:lnTo>
                    <a:pt x="409" y="422"/>
                  </a:lnTo>
                  <a:lnTo>
                    <a:pt x="396" y="439"/>
                  </a:lnTo>
                  <a:lnTo>
                    <a:pt x="378" y="453"/>
                  </a:lnTo>
                  <a:lnTo>
                    <a:pt x="357" y="462"/>
                  </a:lnTo>
                  <a:lnTo>
                    <a:pt x="335" y="465"/>
                  </a:lnTo>
                  <a:lnTo>
                    <a:pt x="86" y="465"/>
                  </a:lnTo>
                  <a:lnTo>
                    <a:pt x="63" y="462"/>
                  </a:lnTo>
                  <a:lnTo>
                    <a:pt x="43" y="453"/>
                  </a:lnTo>
                  <a:lnTo>
                    <a:pt x="26" y="439"/>
                  </a:lnTo>
                  <a:lnTo>
                    <a:pt x="12" y="422"/>
                  </a:lnTo>
                  <a:lnTo>
                    <a:pt x="3" y="402"/>
                  </a:lnTo>
                  <a:lnTo>
                    <a:pt x="0" y="379"/>
                  </a:lnTo>
                  <a:lnTo>
                    <a:pt x="0" y="106"/>
                  </a:lnTo>
                  <a:lnTo>
                    <a:pt x="3" y="84"/>
                  </a:lnTo>
                  <a:lnTo>
                    <a:pt x="12" y="63"/>
                  </a:lnTo>
                  <a:lnTo>
                    <a:pt x="26" y="46"/>
                  </a:lnTo>
                  <a:lnTo>
                    <a:pt x="43" y="32"/>
                  </a:lnTo>
                  <a:lnTo>
                    <a:pt x="63" y="23"/>
                  </a:lnTo>
                  <a:lnTo>
                    <a:pt x="86" y="20"/>
                  </a:lnTo>
                  <a:lnTo>
                    <a:pt x="335" y="20"/>
                  </a:lnTo>
                  <a:lnTo>
                    <a:pt x="354" y="22"/>
                  </a:lnTo>
                  <a:lnTo>
                    <a:pt x="372" y="29"/>
                  </a:lnTo>
                  <a:lnTo>
                    <a:pt x="387" y="39"/>
                  </a:lnTo>
                  <a:lnTo>
                    <a:pt x="401" y="52"/>
                  </a:lnTo>
                  <a:lnTo>
                    <a:pt x="410" y="67"/>
                  </a:lnTo>
                  <a:lnTo>
                    <a:pt x="452" y="18"/>
                  </a:lnTo>
                  <a:lnTo>
                    <a:pt x="465" y="7"/>
                  </a:lnTo>
                  <a:lnTo>
                    <a:pt x="480" y="1"/>
                  </a:lnTo>
                  <a:lnTo>
                    <a:pt x="497"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2" name="Freeform 94">
              <a:extLst>
                <a:ext uri="{FF2B5EF4-FFF2-40B4-BE49-F238E27FC236}">
                  <a16:creationId xmlns:a16="http://schemas.microsoft.com/office/drawing/2014/main" id="{D8255CCD-64E8-F198-9813-926688284943}"/>
                </a:ext>
              </a:extLst>
            </p:cNvPr>
            <p:cNvSpPr>
              <a:spLocks noEditPoints="1"/>
            </p:cNvSpPr>
            <p:nvPr/>
          </p:nvSpPr>
          <p:spPr bwMode="auto">
            <a:xfrm>
              <a:off x="-1041401" y="2962275"/>
              <a:ext cx="96838" cy="82550"/>
            </a:xfrm>
            <a:custGeom>
              <a:avLst/>
              <a:gdLst>
                <a:gd name="T0" fmla="*/ 75 w 546"/>
                <a:gd name="T1" fmla="*/ 85 h 470"/>
                <a:gd name="T2" fmla="*/ 60 w 546"/>
                <a:gd name="T3" fmla="*/ 101 h 470"/>
                <a:gd name="T4" fmla="*/ 58 w 546"/>
                <a:gd name="T5" fmla="*/ 384 h 470"/>
                <a:gd name="T6" fmla="*/ 66 w 546"/>
                <a:gd name="T7" fmla="*/ 404 h 470"/>
                <a:gd name="T8" fmla="*/ 86 w 546"/>
                <a:gd name="T9" fmla="*/ 412 h 470"/>
                <a:gd name="T10" fmla="*/ 345 w 546"/>
                <a:gd name="T11" fmla="*/ 410 h 470"/>
                <a:gd name="T12" fmla="*/ 361 w 546"/>
                <a:gd name="T13" fmla="*/ 395 h 470"/>
                <a:gd name="T14" fmla="*/ 363 w 546"/>
                <a:gd name="T15" fmla="*/ 289 h 470"/>
                <a:gd name="T16" fmla="*/ 292 w 546"/>
                <a:gd name="T17" fmla="*/ 371 h 470"/>
                <a:gd name="T18" fmla="*/ 265 w 546"/>
                <a:gd name="T19" fmla="*/ 379 h 470"/>
                <a:gd name="T20" fmla="*/ 262 w 546"/>
                <a:gd name="T21" fmla="*/ 381 h 470"/>
                <a:gd name="T22" fmla="*/ 236 w 546"/>
                <a:gd name="T23" fmla="*/ 373 h 470"/>
                <a:gd name="T24" fmla="*/ 101 w 546"/>
                <a:gd name="T25" fmla="*/ 251 h 470"/>
                <a:gd name="T26" fmla="*/ 85 w 546"/>
                <a:gd name="T27" fmla="*/ 222 h 470"/>
                <a:gd name="T28" fmla="*/ 89 w 546"/>
                <a:gd name="T29" fmla="*/ 190 h 470"/>
                <a:gd name="T30" fmla="*/ 112 w 546"/>
                <a:gd name="T31" fmla="*/ 166 h 470"/>
                <a:gd name="T32" fmla="*/ 143 w 546"/>
                <a:gd name="T33" fmla="*/ 159 h 470"/>
                <a:gd name="T34" fmla="*/ 173 w 546"/>
                <a:gd name="T35" fmla="*/ 173 h 470"/>
                <a:gd name="T36" fmla="*/ 232 w 546"/>
                <a:gd name="T37" fmla="*/ 223 h 470"/>
                <a:gd name="T38" fmla="*/ 264 w 546"/>
                <a:gd name="T39" fmla="*/ 226 h 470"/>
                <a:gd name="T40" fmla="*/ 292 w 546"/>
                <a:gd name="T41" fmla="*/ 209 h 470"/>
                <a:gd name="T42" fmla="*/ 363 w 546"/>
                <a:gd name="T43" fmla="*/ 111 h 470"/>
                <a:gd name="T44" fmla="*/ 355 w 546"/>
                <a:gd name="T45" fmla="*/ 91 h 470"/>
                <a:gd name="T46" fmla="*/ 335 w 546"/>
                <a:gd name="T47" fmla="*/ 83 h 470"/>
                <a:gd name="T48" fmla="*/ 497 w 546"/>
                <a:gd name="T49" fmla="*/ 0 h 470"/>
                <a:gd name="T50" fmla="*/ 527 w 546"/>
                <a:gd name="T51" fmla="*/ 11 h 470"/>
                <a:gd name="T52" fmla="*/ 545 w 546"/>
                <a:gd name="T53" fmla="*/ 40 h 470"/>
                <a:gd name="T54" fmla="*/ 543 w 546"/>
                <a:gd name="T55" fmla="*/ 72 h 470"/>
                <a:gd name="T56" fmla="*/ 421 w 546"/>
                <a:gd name="T57" fmla="*/ 221 h 470"/>
                <a:gd name="T58" fmla="*/ 418 w 546"/>
                <a:gd name="T59" fmla="*/ 406 h 470"/>
                <a:gd name="T60" fmla="*/ 396 w 546"/>
                <a:gd name="T61" fmla="*/ 444 h 470"/>
                <a:gd name="T62" fmla="*/ 357 w 546"/>
                <a:gd name="T63" fmla="*/ 467 h 470"/>
                <a:gd name="T64" fmla="*/ 86 w 546"/>
                <a:gd name="T65" fmla="*/ 470 h 470"/>
                <a:gd name="T66" fmla="*/ 43 w 546"/>
                <a:gd name="T67" fmla="*/ 458 h 470"/>
                <a:gd name="T68" fmla="*/ 12 w 546"/>
                <a:gd name="T69" fmla="*/ 427 h 470"/>
                <a:gd name="T70" fmla="*/ 0 w 546"/>
                <a:gd name="T71" fmla="*/ 384 h 470"/>
                <a:gd name="T72" fmla="*/ 3 w 546"/>
                <a:gd name="T73" fmla="*/ 89 h 470"/>
                <a:gd name="T74" fmla="*/ 26 w 546"/>
                <a:gd name="T75" fmla="*/ 51 h 470"/>
                <a:gd name="T76" fmla="*/ 63 w 546"/>
                <a:gd name="T77" fmla="*/ 28 h 470"/>
                <a:gd name="T78" fmla="*/ 335 w 546"/>
                <a:gd name="T79" fmla="*/ 25 h 470"/>
                <a:gd name="T80" fmla="*/ 378 w 546"/>
                <a:gd name="T81" fmla="*/ 38 h 470"/>
                <a:gd name="T82" fmla="*/ 409 w 546"/>
                <a:gd name="T83" fmla="*/ 70 h 470"/>
                <a:gd name="T84" fmla="*/ 465 w 546"/>
                <a:gd name="T85" fmla="*/ 7 h 470"/>
                <a:gd name="T86" fmla="*/ 497 w 546"/>
                <a:gd name="T87" fmla="*/ 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6" h="470">
                  <a:moveTo>
                    <a:pt x="86" y="83"/>
                  </a:moveTo>
                  <a:lnTo>
                    <a:pt x="75" y="85"/>
                  </a:lnTo>
                  <a:lnTo>
                    <a:pt x="66" y="91"/>
                  </a:lnTo>
                  <a:lnTo>
                    <a:pt x="60" y="101"/>
                  </a:lnTo>
                  <a:lnTo>
                    <a:pt x="58" y="111"/>
                  </a:lnTo>
                  <a:lnTo>
                    <a:pt x="58" y="384"/>
                  </a:lnTo>
                  <a:lnTo>
                    <a:pt x="60" y="395"/>
                  </a:lnTo>
                  <a:lnTo>
                    <a:pt x="66" y="404"/>
                  </a:lnTo>
                  <a:lnTo>
                    <a:pt x="75" y="410"/>
                  </a:lnTo>
                  <a:lnTo>
                    <a:pt x="86" y="412"/>
                  </a:lnTo>
                  <a:lnTo>
                    <a:pt x="335" y="412"/>
                  </a:lnTo>
                  <a:lnTo>
                    <a:pt x="345" y="410"/>
                  </a:lnTo>
                  <a:lnTo>
                    <a:pt x="355" y="404"/>
                  </a:lnTo>
                  <a:lnTo>
                    <a:pt x="361" y="395"/>
                  </a:lnTo>
                  <a:lnTo>
                    <a:pt x="363" y="384"/>
                  </a:lnTo>
                  <a:lnTo>
                    <a:pt x="363" y="289"/>
                  </a:lnTo>
                  <a:lnTo>
                    <a:pt x="302" y="361"/>
                  </a:lnTo>
                  <a:lnTo>
                    <a:pt x="292" y="371"/>
                  </a:lnTo>
                  <a:lnTo>
                    <a:pt x="279" y="377"/>
                  </a:lnTo>
                  <a:lnTo>
                    <a:pt x="265" y="379"/>
                  </a:lnTo>
                  <a:lnTo>
                    <a:pt x="264" y="379"/>
                  </a:lnTo>
                  <a:lnTo>
                    <a:pt x="262" y="381"/>
                  </a:lnTo>
                  <a:lnTo>
                    <a:pt x="249" y="378"/>
                  </a:lnTo>
                  <a:lnTo>
                    <a:pt x="236" y="373"/>
                  </a:lnTo>
                  <a:lnTo>
                    <a:pt x="225" y="366"/>
                  </a:lnTo>
                  <a:lnTo>
                    <a:pt x="101" y="251"/>
                  </a:lnTo>
                  <a:lnTo>
                    <a:pt x="91" y="237"/>
                  </a:lnTo>
                  <a:lnTo>
                    <a:pt x="85" y="222"/>
                  </a:lnTo>
                  <a:lnTo>
                    <a:pt x="84" y="206"/>
                  </a:lnTo>
                  <a:lnTo>
                    <a:pt x="89" y="190"/>
                  </a:lnTo>
                  <a:lnTo>
                    <a:pt x="98" y="176"/>
                  </a:lnTo>
                  <a:lnTo>
                    <a:pt x="112" y="166"/>
                  </a:lnTo>
                  <a:lnTo>
                    <a:pt x="127" y="159"/>
                  </a:lnTo>
                  <a:lnTo>
                    <a:pt x="143" y="159"/>
                  </a:lnTo>
                  <a:lnTo>
                    <a:pt x="159" y="164"/>
                  </a:lnTo>
                  <a:lnTo>
                    <a:pt x="173" y="173"/>
                  </a:lnTo>
                  <a:lnTo>
                    <a:pt x="218" y="214"/>
                  </a:lnTo>
                  <a:lnTo>
                    <a:pt x="232" y="223"/>
                  </a:lnTo>
                  <a:lnTo>
                    <a:pt x="248" y="227"/>
                  </a:lnTo>
                  <a:lnTo>
                    <a:pt x="264" y="226"/>
                  </a:lnTo>
                  <a:lnTo>
                    <a:pt x="279" y="220"/>
                  </a:lnTo>
                  <a:lnTo>
                    <a:pt x="292" y="209"/>
                  </a:lnTo>
                  <a:lnTo>
                    <a:pt x="363" y="124"/>
                  </a:lnTo>
                  <a:lnTo>
                    <a:pt x="363" y="111"/>
                  </a:lnTo>
                  <a:lnTo>
                    <a:pt x="361" y="101"/>
                  </a:lnTo>
                  <a:lnTo>
                    <a:pt x="355" y="91"/>
                  </a:lnTo>
                  <a:lnTo>
                    <a:pt x="345" y="85"/>
                  </a:lnTo>
                  <a:lnTo>
                    <a:pt x="335" y="83"/>
                  </a:lnTo>
                  <a:lnTo>
                    <a:pt x="86" y="83"/>
                  </a:lnTo>
                  <a:close/>
                  <a:moveTo>
                    <a:pt x="497" y="0"/>
                  </a:moveTo>
                  <a:lnTo>
                    <a:pt x="513" y="3"/>
                  </a:lnTo>
                  <a:lnTo>
                    <a:pt x="527" y="11"/>
                  </a:lnTo>
                  <a:lnTo>
                    <a:pt x="539" y="24"/>
                  </a:lnTo>
                  <a:lnTo>
                    <a:pt x="545" y="40"/>
                  </a:lnTo>
                  <a:lnTo>
                    <a:pt x="546" y="56"/>
                  </a:lnTo>
                  <a:lnTo>
                    <a:pt x="543" y="72"/>
                  </a:lnTo>
                  <a:lnTo>
                    <a:pt x="533" y="87"/>
                  </a:lnTo>
                  <a:lnTo>
                    <a:pt x="421" y="221"/>
                  </a:lnTo>
                  <a:lnTo>
                    <a:pt x="421" y="384"/>
                  </a:lnTo>
                  <a:lnTo>
                    <a:pt x="418" y="406"/>
                  </a:lnTo>
                  <a:lnTo>
                    <a:pt x="409" y="427"/>
                  </a:lnTo>
                  <a:lnTo>
                    <a:pt x="396" y="444"/>
                  </a:lnTo>
                  <a:lnTo>
                    <a:pt x="378" y="458"/>
                  </a:lnTo>
                  <a:lnTo>
                    <a:pt x="357" y="467"/>
                  </a:lnTo>
                  <a:lnTo>
                    <a:pt x="335" y="470"/>
                  </a:lnTo>
                  <a:lnTo>
                    <a:pt x="86" y="470"/>
                  </a:lnTo>
                  <a:lnTo>
                    <a:pt x="63" y="467"/>
                  </a:lnTo>
                  <a:lnTo>
                    <a:pt x="43" y="458"/>
                  </a:lnTo>
                  <a:lnTo>
                    <a:pt x="26" y="444"/>
                  </a:lnTo>
                  <a:lnTo>
                    <a:pt x="12" y="427"/>
                  </a:lnTo>
                  <a:lnTo>
                    <a:pt x="3" y="406"/>
                  </a:lnTo>
                  <a:lnTo>
                    <a:pt x="0" y="384"/>
                  </a:lnTo>
                  <a:lnTo>
                    <a:pt x="0" y="111"/>
                  </a:lnTo>
                  <a:lnTo>
                    <a:pt x="3" y="89"/>
                  </a:lnTo>
                  <a:lnTo>
                    <a:pt x="12" y="68"/>
                  </a:lnTo>
                  <a:lnTo>
                    <a:pt x="26" y="51"/>
                  </a:lnTo>
                  <a:lnTo>
                    <a:pt x="43" y="37"/>
                  </a:lnTo>
                  <a:lnTo>
                    <a:pt x="63" y="28"/>
                  </a:lnTo>
                  <a:lnTo>
                    <a:pt x="86" y="25"/>
                  </a:lnTo>
                  <a:lnTo>
                    <a:pt x="335" y="25"/>
                  </a:lnTo>
                  <a:lnTo>
                    <a:pt x="358" y="28"/>
                  </a:lnTo>
                  <a:lnTo>
                    <a:pt x="378" y="38"/>
                  </a:lnTo>
                  <a:lnTo>
                    <a:pt x="396" y="52"/>
                  </a:lnTo>
                  <a:lnTo>
                    <a:pt x="409" y="70"/>
                  </a:lnTo>
                  <a:lnTo>
                    <a:pt x="452" y="19"/>
                  </a:lnTo>
                  <a:lnTo>
                    <a:pt x="465" y="7"/>
                  </a:lnTo>
                  <a:lnTo>
                    <a:pt x="480" y="1"/>
                  </a:lnTo>
                  <a:lnTo>
                    <a:pt x="497"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3" name="Freeform 95">
              <a:extLst>
                <a:ext uri="{FF2B5EF4-FFF2-40B4-BE49-F238E27FC236}">
                  <a16:creationId xmlns:a16="http://schemas.microsoft.com/office/drawing/2014/main" id="{FD45AE1D-242C-8E44-AF54-FE40F7D3E348}"/>
                </a:ext>
              </a:extLst>
            </p:cNvPr>
            <p:cNvSpPr>
              <a:spLocks/>
            </p:cNvSpPr>
            <p:nvPr/>
          </p:nvSpPr>
          <p:spPr bwMode="auto">
            <a:xfrm>
              <a:off x="-919163" y="2792413"/>
              <a:ext cx="169863" cy="17463"/>
            </a:xfrm>
            <a:custGeom>
              <a:avLst/>
              <a:gdLst>
                <a:gd name="T0" fmla="*/ 53 w 969"/>
                <a:gd name="T1" fmla="*/ 0 h 106"/>
                <a:gd name="T2" fmla="*/ 916 w 969"/>
                <a:gd name="T3" fmla="*/ 0 h 106"/>
                <a:gd name="T4" fmla="*/ 933 w 969"/>
                <a:gd name="T5" fmla="*/ 3 h 106"/>
                <a:gd name="T6" fmla="*/ 947 w 969"/>
                <a:gd name="T7" fmla="*/ 11 h 106"/>
                <a:gd name="T8" fmla="*/ 959 w 969"/>
                <a:gd name="T9" fmla="*/ 22 h 106"/>
                <a:gd name="T10" fmla="*/ 966 w 969"/>
                <a:gd name="T11" fmla="*/ 37 h 106"/>
                <a:gd name="T12" fmla="*/ 969 w 969"/>
                <a:gd name="T13" fmla="*/ 54 h 106"/>
                <a:gd name="T14" fmla="*/ 966 w 969"/>
                <a:gd name="T15" fmla="*/ 70 h 106"/>
                <a:gd name="T16" fmla="*/ 959 w 969"/>
                <a:gd name="T17" fmla="*/ 85 h 106"/>
                <a:gd name="T18" fmla="*/ 947 w 969"/>
                <a:gd name="T19" fmla="*/ 97 h 106"/>
                <a:gd name="T20" fmla="*/ 933 w 969"/>
                <a:gd name="T21" fmla="*/ 104 h 106"/>
                <a:gd name="T22" fmla="*/ 916 w 969"/>
                <a:gd name="T23" fmla="*/ 106 h 106"/>
                <a:gd name="T24" fmla="*/ 53 w 969"/>
                <a:gd name="T25" fmla="*/ 106 h 106"/>
                <a:gd name="T26" fmla="*/ 36 w 969"/>
                <a:gd name="T27" fmla="*/ 104 h 106"/>
                <a:gd name="T28" fmla="*/ 22 w 969"/>
                <a:gd name="T29" fmla="*/ 97 h 106"/>
                <a:gd name="T30" fmla="*/ 10 w 969"/>
                <a:gd name="T31" fmla="*/ 85 h 106"/>
                <a:gd name="T32" fmla="*/ 3 w 969"/>
                <a:gd name="T33" fmla="*/ 70 h 106"/>
                <a:gd name="T34" fmla="*/ 0 w 969"/>
                <a:gd name="T35" fmla="*/ 54 h 106"/>
                <a:gd name="T36" fmla="*/ 3 w 969"/>
                <a:gd name="T37" fmla="*/ 37 h 106"/>
                <a:gd name="T38" fmla="*/ 10 w 969"/>
                <a:gd name="T39" fmla="*/ 22 h 106"/>
                <a:gd name="T40" fmla="*/ 22 w 969"/>
                <a:gd name="T41" fmla="*/ 11 h 106"/>
                <a:gd name="T42" fmla="*/ 36 w 969"/>
                <a:gd name="T43" fmla="*/ 3 h 106"/>
                <a:gd name="T44" fmla="*/ 53 w 969"/>
                <a:gd name="T45"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9" h="106">
                  <a:moveTo>
                    <a:pt x="53" y="0"/>
                  </a:moveTo>
                  <a:lnTo>
                    <a:pt x="916" y="0"/>
                  </a:lnTo>
                  <a:lnTo>
                    <a:pt x="933" y="3"/>
                  </a:lnTo>
                  <a:lnTo>
                    <a:pt x="947" y="11"/>
                  </a:lnTo>
                  <a:lnTo>
                    <a:pt x="959" y="22"/>
                  </a:lnTo>
                  <a:lnTo>
                    <a:pt x="966" y="37"/>
                  </a:lnTo>
                  <a:lnTo>
                    <a:pt x="969" y="54"/>
                  </a:lnTo>
                  <a:lnTo>
                    <a:pt x="966" y="70"/>
                  </a:lnTo>
                  <a:lnTo>
                    <a:pt x="959" y="85"/>
                  </a:lnTo>
                  <a:lnTo>
                    <a:pt x="947" y="97"/>
                  </a:lnTo>
                  <a:lnTo>
                    <a:pt x="933" y="104"/>
                  </a:lnTo>
                  <a:lnTo>
                    <a:pt x="916" y="106"/>
                  </a:lnTo>
                  <a:lnTo>
                    <a:pt x="53" y="106"/>
                  </a:lnTo>
                  <a:lnTo>
                    <a:pt x="36" y="104"/>
                  </a:lnTo>
                  <a:lnTo>
                    <a:pt x="22" y="97"/>
                  </a:lnTo>
                  <a:lnTo>
                    <a:pt x="10" y="85"/>
                  </a:lnTo>
                  <a:lnTo>
                    <a:pt x="3" y="70"/>
                  </a:lnTo>
                  <a:lnTo>
                    <a:pt x="0" y="54"/>
                  </a:lnTo>
                  <a:lnTo>
                    <a:pt x="3" y="37"/>
                  </a:lnTo>
                  <a:lnTo>
                    <a:pt x="10" y="22"/>
                  </a:lnTo>
                  <a:lnTo>
                    <a:pt x="22" y="11"/>
                  </a:lnTo>
                  <a:lnTo>
                    <a:pt x="36" y="3"/>
                  </a:lnTo>
                  <a:lnTo>
                    <a:pt x="5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4" name="Freeform 96">
              <a:extLst>
                <a:ext uri="{FF2B5EF4-FFF2-40B4-BE49-F238E27FC236}">
                  <a16:creationId xmlns:a16="http://schemas.microsoft.com/office/drawing/2014/main" id="{CD6B6BDE-0AD2-B7FF-B4CC-004114C3C95C}"/>
                </a:ext>
              </a:extLst>
            </p:cNvPr>
            <p:cNvSpPr>
              <a:spLocks/>
            </p:cNvSpPr>
            <p:nvPr/>
          </p:nvSpPr>
          <p:spPr bwMode="auto">
            <a:xfrm>
              <a:off x="-919163" y="2882900"/>
              <a:ext cx="169863" cy="19050"/>
            </a:xfrm>
            <a:custGeom>
              <a:avLst/>
              <a:gdLst>
                <a:gd name="T0" fmla="*/ 53 w 969"/>
                <a:gd name="T1" fmla="*/ 0 h 107"/>
                <a:gd name="T2" fmla="*/ 916 w 969"/>
                <a:gd name="T3" fmla="*/ 0 h 107"/>
                <a:gd name="T4" fmla="*/ 933 w 969"/>
                <a:gd name="T5" fmla="*/ 3 h 107"/>
                <a:gd name="T6" fmla="*/ 947 w 969"/>
                <a:gd name="T7" fmla="*/ 11 h 107"/>
                <a:gd name="T8" fmla="*/ 959 w 969"/>
                <a:gd name="T9" fmla="*/ 23 h 107"/>
                <a:gd name="T10" fmla="*/ 966 w 969"/>
                <a:gd name="T11" fmla="*/ 36 h 107"/>
                <a:gd name="T12" fmla="*/ 969 w 969"/>
                <a:gd name="T13" fmla="*/ 53 h 107"/>
                <a:gd name="T14" fmla="*/ 966 w 969"/>
                <a:gd name="T15" fmla="*/ 70 h 107"/>
                <a:gd name="T16" fmla="*/ 959 w 969"/>
                <a:gd name="T17" fmla="*/ 85 h 107"/>
                <a:gd name="T18" fmla="*/ 947 w 969"/>
                <a:gd name="T19" fmla="*/ 96 h 107"/>
                <a:gd name="T20" fmla="*/ 933 w 969"/>
                <a:gd name="T21" fmla="*/ 103 h 107"/>
                <a:gd name="T22" fmla="*/ 916 w 969"/>
                <a:gd name="T23" fmla="*/ 107 h 107"/>
                <a:gd name="T24" fmla="*/ 53 w 969"/>
                <a:gd name="T25" fmla="*/ 107 h 107"/>
                <a:gd name="T26" fmla="*/ 36 w 969"/>
                <a:gd name="T27" fmla="*/ 103 h 107"/>
                <a:gd name="T28" fmla="*/ 22 w 969"/>
                <a:gd name="T29" fmla="*/ 96 h 107"/>
                <a:gd name="T30" fmla="*/ 10 w 969"/>
                <a:gd name="T31" fmla="*/ 85 h 107"/>
                <a:gd name="T32" fmla="*/ 3 w 969"/>
                <a:gd name="T33" fmla="*/ 70 h 107"/>
                <a:gd name="T34" fmla="*/ 0 w 969"/>
                <a:gd name="T35" fmla="*/ 53 h 107"/>
                <a:gd name="T36" fmla="*/ 3 w 969"/>
                <a:gd name="T37" fmla="*/ 36 h 107"/>
                <a:gd name="T38" fmla="*/ 10 w 969"/>
                <a:gd name="T39" fmla="*/ 23 h 107"/>
                <a:gd name="T40" fmla="*/ 22 w 969"/>
                <a:gd name="T41" fmla="*/ 11 h 107"/>
                <a:gd name="T42" fmla="*/ 36 w 969"/>
                <a:gd name="T43" fmla="*/ 3 h 107"/>
                <a:gd name="T44" fmla="*/ 53 w 969"/>
                <a:gd name="T45"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9" h="107">
                  <a:moveTo>
                    <a:pt x="53" y="0"/>
                  </a:moveTo>
                  <a:lnTo>
                    <a:pt x="916" y="0"/>
                  </a:lnTo>
                  <a:lnTo>
                    <a:pt x="933" y="3"/>
                  </a:lnTo>
                  <a:lnTo>
                    <a:pt x="947" y="11"/>
                  </a:lnTo>
                  <a:lnTo>
                    <a:pt x="959" y="23"/>
                  </a:lnTo>
                  <a:lnTo>
                    <a:pt x="966" y="36"/>
                  </a:lnTo>
                  <a:lnTo>
                    <a:pt x="969" y="53"/>
                  </a:lnTo>
                  <a:lnTo>
                    <a:pt x="966" y="70"/>
                  </a:lnTo>
                  <a:lnTo>
                    <a:pt x="959" y="85"/>
                  </a:lnTo>
                  <a:lnTo>
                    <a:pt x="947" y="96"/>
                  </a:lnTo>
                  <a:lnTo>
                    <a:pt x="933" y="103"/>
                  </a:lnTo>
                  <a:lnTo>
                    <a:pt x="916" y="107"/>
                  </a:lnTo>
                  <a:lnTo>
                    <a:pt x="53" y="107"/>
                  </a:lnTo>
                  <a:lnTo>
                    <a:pt x="36" y="103"/>
                  </a:lnTo>
                  <a:lnTo>
                    <a:pt x="22" y="96"/>
                  </a:lnTo>
                  <a:lnTo>
                    <a:pt x="10" y="85"/>
                  </a:lnTo>
                  <a:lnTo>
                    <a:pt x="3" y="70"/>
                  </a:lnTo>
                  <a:lnTo>
                    <a:pt x="0" y="53"/>
                  </a:lnTo>
                  <a:lnTo>
                    <a:pt x="3" y="36"/>
                  </a:lnTo>
                  <a:lnTo>
                    <a:pt x="10" y="23"/>
                  </a:lnTo>
                  <a:lnTo>
                    <a:pt x="22" y="11"/>
                  </a:lnTo>
                  <a:lnTo>
                    <a:pt x="36" y="3"/>
                  </a:lnTo>
                  <a:lnTo>
                    <a:pt x="5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5" name="Freeform 97">
              <a:extLst>
                <a:ext uri="{FF2B5EF4-FFF2-40B4-BE49-F238E27FC236}">
                  <a16:creationId xmlns:a16="http://schemas.microsoft.com/office/drawing/2014/main" id="{B27E7E8A-D7DC-AD9B-F2D3-A342FD12817F}"/>
                </a:ext>
              </a:extLst>
            </p:cNvPr>
            <p:cNvSpPr>
              <a:spLocks/>
            </p:cNvSpPr>
            <p:nvPr/>
          </p:nvSpPr>
          <p:spPr bwMode="auto">
            <a:xfrm>
              <a:off x="-919163" y="2974975"/>
              <a:ext cx="169863" cy="19050"/>
            </a:xfrm>
            <a:custGeom>
              <a:avLst/>
              <a:gdLst>
                <a:gd name="T0" fmla="*/ 53 w 969"/>
                <a:gd name="T1" fmla="*/ 0 h 107"/>
                <a:gd name="T2" fmla="*/ 916 w 969"/>
                <a:gd name="T3" fmla="*/ 0 h 107"/>
                <a:gd name="T4" fmla="*/ 933 w 969"/>
                <a:gd name="T5" fmla="*/ 2 h 107"/>
                <a:gd name="T6" fmla="*/ 947 w 969"/>
                <a:gd name="T7" fmla="*/ 10 h 107"/>
                <a:gd name="T8" fmla="*/ 959 w 969"/>
                <a:gd name="T9" fmla="*/ 22 h 107"/>
                <a:gd name="T10" fmla="*/ 966 w 969"/>
                <a:gd name="T11" fmla="*/ 36 h 107"/>
                <a:gd name="T12" fmla="*/ 969 w 969"/>
                <a:gd name="T13" fmla="*/ 53 h 107"/>
                <a:gd name="T14" fmla="*/ 966 w 969"/>
                <a:gd name="T15" fmla="*/ 71 h 107"/>
                <a:gd name="T16" fmla="*/ 959 w 969"/>
                <a:gd name="T17" fmla="*/ 84 h 107"/>
                <a:gd name="T18" fmla="*/ 947 w 969"/>
                <a:gd name="T19" fmla="*/ 96 h 107"/>
                <a:gd name="T20" fmla="*/ 933 w 969"/>
                <a:gd name="T21" fmla="*/ 103 h 107"/>
                <a:gd name="T22" fmla="*/ 916 w 969"/>
                <a:gd name="T23" fmla="*/ 107 h 107"/>
                <a:gd name="T24" fmla="*/ 53 w 969"/>
                <a:gd name="T25" fmla="*/ 107 h 107"/>
                <a:gd name="T26" fmla="*/ 36 w 969"/>
                <a:gd name="T27" fmla="*/ 103 h 107"/>
                <a:gd name="T28" fmla="*/ 22 w 969"/>
                <a:gd name="T29" fmla="*/ 96 h 107"/>
                <a:gd name="T30" fmla="*/ 10 w 969"/>
                <a:gd name="T31" fmla="*/ 84 h 107"/>
                <a:gd name="T32" fmla="*/ 3 w 969"/>
                <a:gd name="T33" fmla="*/ 71 h 107"/>
                <a:gd name="T34" fmla="*/ 0 w 969"/>
                <a:gd name="T35" fmla="*/ 53 h 107"/>
                <a:gd name="T36" fmla="*/ 3 w 969"/>
                <a:gd name="T37" fmla="*/ 36 h 107"/>
                <a:gd name="T38" fmla="*/ 10 w 969"/>
                <a:gd name="T39" fmla="*/ 22 h 107"/>
                <a:gd name="T40" fmla="*/ 22 w 969"/>
                <a:gd name="T41" fmla="*/ 10 h 107"/>
                <a:gd name="T42" fmla="*/ 36 w 969"/>
                <a:gd name="T43" fmla="*/ 2 h 107"/>
                <a:gd name="T44" fmla="*/ 53 w 969"/>
                <a:gd name="T45"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9" h="107">
                  <a:moveTo>
                    <a:pt x="53" y="0"/>
                  </a:moveTo>
                  <a:lnTo>
                    <a:pt x="916" y="0"/>
                  </a:lnTo>
                  <a:lnTo>
                    <a:pt x="933" y="2"/>
                  </a:lnTo>
                  <a:lnTo>
                    <a:pt x="947" y="10"/>
                  </a:lnTo>
                  <a:lnTo>
                    <a:pt x="959" y="22"/>
                  </a:lnTo>
                  <a:lnTo>
                    <a:pt x="966" y="36"/>
                  </a:lnTo>
                  <a:lnTo>
                    <a:pt x="969" y="53"/>
                  </a:lnTo>
                  <a:lnTo>
                    <a:pt x="966" y="71"/>
                  </a:lnTo>
                  <a:lnTo>
                    <a:pt x="959" y="84"/>
                  </a:lnTo>
                  <a:lnTo>
                    <a:pt x="947" y="96"/>
                  </a:lnTo>
                  <a:lnTo>
                    <a:pt x="933" y="103"/>
                  </a:lnTo>
                  <a:lnTo>
                    <a:pt x="916" y="107"/>
                  </a:lnTo>
                  <a:lnTo>
                    <a:pt x="53" y="107"/>
                  </a:lnTo>
                  <a:lnTo>
                    <a:pt x="36" y="103"/>
                  </a:lnTo>
                  <a:lnTo>
                    <a:pt x="22" y="96"/>
                  </a:lnTo>
                  <a:lnTo>
                    <a:pt x="10" y="84"/>
                  </a:lnTo>
                  <a:lnTo>
                    <a:pt x="3" y="71"/>
                  </a:lnTo>
                  <a:lnTo>
                    <a:pt x="0" y="53"/>
                  </a:lnTo>
                  <a:lnTo>
                    <a:pt x="3" y="36"/>
                  </a:lnTo>
                  <a:lnTo>
                    <a:pt x="10" y="22"/>
                  </a:lnTo>
                  <a:lnTo>
                    <a:pt x="22" y="10"/>
                  </a:lnTo>
                  <a:lnTo>
                    <a:pt x="36" y="2"/>
                  </a:lnTo>
                  <a:lnTo>
                    <a:pt x="5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6" name="Group 15">
            <a:extLst>
              <a:ext uri="{FF2B5EF4-FFF2-40B4-BE49-F238E27FC236}">
                <a16:creationId xmlns:a16="http://schemas.microsoft.com/office/drawing/2014/main" id="{5755E0C4-EA22-ED36-38D7-D1981CA73EA2}"/>
              </a:ext>
            </a:extLst>
          </p:cNvPr>
          <p:cNvGrpSpPr/>
          <p:nvPr/>
        </p:nvGrpSpPr>
        <p:grpSpPr>
          <a:xfrm>
            <a:off x="5453148" y="1682198"/>
            <a:ext cx="420617" cy="431850"/>
            <a:chOff x="-1162050" y="2613025"/>
            <a:chExt cx="684212" cy="701675"/>
          </a:xfrm>
          <a:solidFill>
            <a:schemeClr val="tx1"/>
          </a:solidFill>
        </p:grpSpPr>
        <p:sp>
          <p:nvSpPr>
            <p:cNvPr id="17" name="Freeform 112">
              <a:extLst>
                <a:ext uri="{FF2B5EF4-FFF2-40B4-BE49-F238E27FC236}">
                  <a16:creationId xmlns:a16="http://schemas.microsoft.com/office/drawing/2014/main" id="{BEE74EE8-794F-1F8D-E084-2AB97A6F086A}"/>
                </a:ext>
              </a:extLst>
            </p:cNvPr>
            <p:cNvSpPr>
              <a:spLocks/>
            </p:cNvSpPr>
            <p:nvPr/>
          </p:nvSpPr>
          <p:spPr bwMode="auto">
            <a:xfrm>
              <a:off x="-873125" y="2613025"/>
              <a:ext cx="106362" cy="109538"/>
            </a:xfrm>
            <a:custGeom>
              <a:avLst/>
              <a:gdLst>
                <a:gd name="T0" fmla="*/ 267 w 535"/>
                <a:gd name="T1" fmla="*/ 0 h 479"/>
                <a:gd name="T2" fmla="*/ 267 w 535"/>
                <a:gd name="T3" fmla="*/ 0 h 479"/>
                <a:gd name="T4" fmla="*/ 311 w 535"/>
                <a:gd name="T5" fmla="*/ 3 h 479"/>
                <a:gd name="T6" fmla="*/ 352 w 535"/>
                <a:gd name="T7" fmla="*/ 12 h 479"/>
                <a:gd name="T8" fmla="*/ 390 w 535"/>
                <a:gd name="T9" fmla="*/ 27 h 479"/>
                <a:gd name="T10" fmla="*/ 425 w 535"/>
                <a:gd name="T11" fmla="*/ 47 h 479"/>
                <a:gd name="T12" fmla="*/ 456 w 535"/>
                <a:gd name="T13" fmla="*/ 71 h 479"/>
                <a:gd name="T14" fmla="*/ 483 w 535"/>
                <a:gd name="T15" fmla="*/ 99 h 479"/>
                <a:gd name="T16" fmla="*/ 504 w 535"/>
                <a:gd name="T17" fmla="*/ 130 h 479"/>
                <a:gd name="T18" fmla="*/ 521 w 535"/>
                <a:gd name="T19" fmla="*/ 164 h 479"/>
                <a:gd name="T20" fmla="*/ 531 w 535"/>
                <a:gd name="T21" fmla="*/ 201 h 479"/>
                <a:gd name="T22" fmla="*/ 535 w 535"/>
                <a:gd name="T23" fmla="*/ 240 h 479"/>
                <a:gd name="T24" fmla="*/ 531 w 535"/>
                <a:gd name="T25" fmla="*/ 279 h 479"/>
                <a:gd name="T26" fmla="*/ 521 w 535"/>
                <a:gd name="T27" fmla="*/ 316 h 479"/>
                <a:gd name="T28" fmla="*/ 504 w 535"/>
                <a:gd name="T29" fmla="*/ 350 h 479"/>
                <a:gd name="T30" fmla="*/ 483 w 535"/>
                <a:gd name="T31" fmla="*/ 381 h 479"/>
                <a:gd name="T32" fmla="*/ 456 w 535"/>
                <a:gd name="T33" fmla="*/ 410 h 479"/>
                <a:gd name="T34" fmla="*/ 425 w 535"/>
                <a:gd name="T35" fmla="*/ 433 h 479"/>
                <a:gd name="T36" fmla="*/ 390 w 535"/>
                <a:gd name="T37" fmla="*/ 453 h 479"/>
                <a:gd name="T38" fmla="*/ 352 w 535"/>
                <a:gd name="T39" fmla="*/ 467 h 479"/>
                <a:gd name="T40" fmla="*/ 311 w 535"/>
                <a:gd name="T41" fmla="*/ 476 h 479"/>
                <a:gd name="T42" fmla="*/ 267 w 535"/>
                <a:gd name="T43" fmla="*/ 479 h 479"/>
                <a:gd name="T44" fmla="*/ 224 w 535"/>
                <a:gd name="T45" fmla="*/ 476 h 479"/>
                <a:gd name="T46" fmla="*/ 183 w 535"/>
                <a:gd name="T47" fmla="*/ 467 h 479"/>
                <a:gd name="T48" fmla="*/ 145 w 535"/>
                <a:gd name="T49" fmla="*/ 453 h 479"/>
                <a:gd name="T50" fmla="*/ 110 w 535"/>
                <a:gd name="T51" fmla="*/ 433 h 479"/>
                <a:gd name="T52" fmla="*/ 79 w 535"/>
                <a:gd name="T53" fmla="*/ 410 h 479"/>
                <a:gd name="T54" fmla="*/ 52 w 535"/>
                <a:gd name="T55" fmla="*/ 381 h 479"/>
                <a:gd name="T56" fmla="*/ 30 w 535"/>
                <a:gd name="T57" fmla="*/ 350 h 479"/>
                <a:gd name="T58" fmla="*/ 14 w 535"/>
                <a:gd name="T59" fmla="*/ 316 h 479"/>
                <a:gd name="T60" fmla="*/ 4 w 535"/>
                <a:gd name="T61" fmla="*/ 279 h 479"/>
                <a:gd name="T62" fmla="*/ 0 w 535"/>
                <a:gd name="T63" fmla="*/ 240 h 479"/>
                <a:gd name="T64" fmla="*/ 4 w 535"/>
                <a:gd name="T65" fmla="*/ 201 h 479"/>
                <a:gd name="T66" fmla="*/ 14 w 535"/>
                <a:gd name="T67" fmla="*/ 164 h 479"/>
                <a:gd name="T68" fmla="*/ 30 w 535"/>
                <a:gd name="T69" fmla="*/ 130 h 479"/>
                <a:gd name="T70" fmla="*/ 52 w 535"/>
                <a:gd name="T71" fmla="*/ 99 h 479"/>
                <a:gd name="T72" fmla="*/ 79 w 535"/>
                <a:gd name="T73" fmla="*/ 71 h 479"/>
                <a:gd name="T74" fmla="*/ 110 w 535"/>
                <a:gd name="T75" fmla="*/ 47 h 479"/>
                <a:gd name="T76" fmla="*/ 145 w 535"/>
                <a:gd name="T77" fmla="*/ 27 h 479"/>
                <a:gd name="T78" fmla="*/ 183 w 535"/>
                <a:gd name="T79" fmla="*/ 12 h 479"/>
                <a:gd name="T80" fmla="*/ 224 w 535"/>
                <a:gd name="T81" fmla="*/ 3 h 479"/>
                <a:gd name="T82" fmla="*/ 267 w 535"/>
                <a:gd name="T83" fmla="*/ 0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5" h="479">
                  <a:moveTo>
                    <a:pt x="267" y="0"/>
                  </a:moveTo>
                  <a:lnTo>
                    <a:pt x="267" y="0"/>
                  </a:lnTo>
                  <a:lnTo>
                    <a:pt x="311" y="3"/>
                  </a:lnTo>
                  <a:lnTo>
                    <a:pt x="352" y="12"/>
                  </a:lnTo>
                  <a:lnTo>
                    <a:pt x="390" y="27"/>
                  </a:lnTo>
                  <a:lnTo>
                    <a:pt x="425" y="47"/>
                  </a:lnTo>
                  <a:lnTo>
                    <a:pt x="456" y="71"/>
                  </a:lnTo>
                  <a:lnTo>
                    <a:pt x="483" y="99"/>
                  </a:lnTo>
                  <a:lnTo>
                    <a:pt x="504" y="130"/>
                  </a:lnTo>
                  <a:lnTo>
                    <a:pt x="521" y="164"/>
                  </a:lnTo>
                  <a:lnTo>
                    <a:pt x="531" y="201"/>
                  </a:lnTo>
                  <a:lnTo>
                    <a:pt x="535" y="240"/>
                  </a:lnTo>
                  <a:lnTo>
                    <a:pt x="531" y="279"/>
                  </a:lnTo>
                  <a:lnTo>
                    <a:pt x="521" y="316"/>
                  </a:lnTo>
                  <a:lnTo>
                    <a:pt x="504" y="350"/>
                  </a:lnTo>
                  <a:lnTo>
                    <a:pt x="483" y="381"/>
                  </a:lnTo>
                  <a:lnTo>
                    <a:pt x="456" y="410"/>
                  </a:lnTo>
                  <a:lnTo>
                    <a:pt x="425" y="433"/>
                  </a:lnTo>
                  <a:lnTo>
                    <a:pt x="390" y="453"/>
                  </a:lnTo>
                  <a:lnTo>
                    <a:pt x="352" y="467"/>
                  </a:lnTo>
                  <a:lnTo>
                    <a:pt x="311" y="476"/>
                  </a:lnTo>
                  <a:lnTo>
                    <a:pt x="267" y="479"/>
                  </a:lnTo>
                  <a:lnTo>
                    <a:pt x="224" y="476"/>
                  </a:lnTo>
                  <a:lnTo>
                    <a:pt x="183" y="467"/>
                  </a:lnTo>
                  <a:lnTo>
                    <a:pt x="145" y="453"/>
                  </a:lnTo>
                  <a:lnTo>
                    <a:pt x="110" y="433"/>
                  </a:lnTo>
                  <a:lnTo>
                    <a:pt x="79" y="410"/>
                  </a:lnTo>
                  <a:lnTo>
                    <a:pt x="52" y="381"/>
                  </a:lnTo>
                  <a:lnTo>
                    <a:pt x="30" y="350"/>
                  </a:lnTo>
                  <a:lnTo>
                    <a:pt x="14" y="316"/>
                  </a:lnTo>
                  <a:lnTo>
                    <a:pt x="4" y="279"/>
                  </a:lnTo>
                  <a:lnTo>
                    <a:pt x="0" y="240"/>
                  </a:lnTo>
                  <a:lnTo>
                    <a:pt x="4" y="201"/>
                  </a:lnTo>
                  <a:lnTo>
                    <a:pt x="14" y="164"/>
                  </a:lnTo>
                  <a:lnTo>
                    <a:pt x="30" y="130"/>
                  </a:lnTo>
                  <a:lnTo>
                    <a:pt x="52" y="99"/>
                  </a:lnTo>
                  <a:lnTo>
                    <a:pt x="79" y="71"/>
                  </a:lnTo>
                  <a:lnTo>
                    <a:pt x="110" y="47"/>
                  </a:lnTo>
                  <a:lnTo>
                    <a:pt x="145" y="27"/>
                  </a:lnTo>
                  <a:lnTo>
                    <a:pt x="183" y="12"/>
                  </a:lnTo>
                  <a:lnTo>
                    <a:pt x="224" y="3"/>
                  </a:lnTo>
                  <a:lnTo>
                    <a:pt x="2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13">
              <a:extLst>
                <a:ext uri="{FF2B5EF4-FFF2-40B4-BE49-F238E27FC236}">
                  <a16:creationId xmlns:a16="http://schemas.microsoft.com/office/drawing/2014/main" id="{7A791E87-3917-F5F5-8411-CC292DA06E00}"/>
                </a:ext>
              </a:extLst>
            </p:cNvPr>
            <p:cNvSpPr>
              <a:spLocks/>
            </p:cNvSpPr>
            <p:nvPr/>
          </p:nvSpPr>
          <p:spPr bwMode="auto">
            <a:xfrm>
              <a:off x="-873125" y="3206750"/>
              <a:ext cx="106362" cy="107950"/>
            </a:xfrm>
            <a:custGeom>
              <a:avLst/>
              <a:gdLst>
                <a:gd name="T0" fmla="*/ 267 w 535"/>
                <a:gd name="T1" fmla="*/ 0 h 480"/>
                <a:gd name="T2" fmla="*/ 311 w 535"/>
                <a:gd name="T3" fmla="*/ 5 h 480"/>
                <a:gd name="T4" fmla="*/ 352 w 535"/>
                <a:gd name="T5" fmla="*/ 14 h 480"/>
                <a:gd name="T6" fmla="*/ 390 w 535"/>
                <a:gd name="T7" fmla="*/ 28 h 480"/>
                <a:gd name="T8" fmla="*/ 425 w 535"/>
                <a:gd name="T9" fmla="*/ 48 h 480"/>
                <a:gd name="T10" fmla="*/ 456 w 535"/>
                <a:gd name="T11" fmla="*/ 71 h 480"/>
                <a:gd name="T12" fmla="*/ 483 w 535"/>
                <a:gd name="T13" fmla="*/ 99 h 480"/>
                <a:gd name="T14" fmla="*/ 504 w 535"/>
                <a:gd name="T15" fmla="*/ 130 h 480"/>
                <a:gd name="T16" fmla="*/ 521 w 535"/>
                <a:gd name="T17" fmla="*/ 165 h 480"/>
                <a:gd name="T18" fmla="*/ 531 w 535"/>
                <a:gd name="T19" fmla="*/ 202 h 480"/>
                <a:gd name="T20" fmla="*/ 535 w 535"/>
                <a:gd name="T21" fmla="*/ 241 h 480"/>
                <a:gd name="T22" fmla="*/ 531 w 535"/>
                <a:gd name="T23" fmla="*/ 280 h 480"/>
                <a:gd name="T24" fmla="*/ 521 w 535"/>
                <a:gd name="T25" fmla="*/ 316 h 480"/>
                <a:gd name="T26" fmla="*/ 504 w 535"/>
                <a:gd name="T27" fmla="*/ 350 h 480"/>
                <a:gd name="T28" fmla="*/ 483 w 535"/>
                <a:gd name="T29" fmla="*/ 382 h 480"/>
                <a:gd name="T30" fmla="*/ 456 w 535"/>
                <a:gd name="T31" fmla="*/ 410 h 480"/>
                <a:gd name="T32" fmla="*/ 425 w 535"/>
                <a:gd name="T33" fmla="*/ 434 h 480"/>
                <a:gd name="T34" fmla="*/ 390 w 535"/>
                <a:gd name="T35" fmla="*/ 453 h 480"/>
                <a:gd name="T36" fmla="*/ 352 w 535"/>
                <a:gd name="T37" fmla="*/ 468 h 480"/>
                <a:gd name="T38" fmla="*/ 311 w 535"/>
                <a:gd name="T39" fmla="*/ 477 h 480"/>
                <a:gd name="T40" fmla="*/ 267 w 535"/>
                <a:gd name="T41" fmla="*/ 480 h 480"/>
                <a:gd name="T42" fmla="*/ 224 w 535"/>
                <a:gd name="T43" fmla="*/ 477 h 480"/>
                <a:gd name="T44" fmla="*/ 183 w 535"/>
                <a:gd name="T45" fmla="*/ 468 h 480"/>
                <a:gd name="T46" fmla="*/ 145 w 535"/>
                <a:gd name="T47" fmla="*/ 453 h 480"/>
                <a:gd name="T48" fmla="*/ 110 w 535"/>
                <a:gd name="T49" fmla="*/ 434 h 480"/>
                <a:gd name="T50" fmla="*/ 79 w 535"/>
                <a:gd name="T51" fmla="*/ 410 h 480"/>
                <a:gd name="T52" fmla="*/ 52 w 535"/>
                <a:gd name="T53" fmla="*/ 382 h 480"/>
                <a:gd name="T54" fmla="*/ 30 w 535"/>
                <a:gd name="T55" fmla="*/ 350 h 480"/>
                <a:gd name="T56" fmla="*/ 14 w 535"/>
                <a:gd name="T57" fmla="*/ 316 h 480"/>
                <a:gd name="T58" fmla="*/ 4 w 535"/>
                <a:gd name="T59" fmla="*/ 280 h 480"/>
                <a:gd name="T60" fmla="*/ 0 w 535"/>
                <a:gd name="T61" fmla="*/ 241 h 480"/>
                <a:gd name="T62" fmla="*/ 4 w 535"/>
                <a:gd name="T63" fmla="*/ 202 h 480"/>
                <a:gd name="T64" fmla="*/ 14 w 535"/>
                <a:gd name="T65" fmla="*/ 165 h 480"/>
                <a:gd name="T66" fmla="*/ 30 w 535"/>
                <a:gd name="T67" fmla="*/ 130 h 480"/>
                <a:gd name="T68" fmla="*/ 52 w 535"/>
                <a:gd name="T69" fmla="*/ 99 h 480"/>
                <a:gd name="T70" fmla="*/ 79 w 535"/>
                <a:gd name="T71" fmla="*/ 71 h 480"/>
                <a:gd name="T72" fmla="*/ 110 w 535"/>
                <a:gd name="T73" fmla="*/ 48 h 480"/>
                <a:gd name="T74" fmla="*/ 145 w 535"/>
                <a:gd name="T75" fmla="*/ 28 h 480"/>
                <a:gd name="T76" fmla="*/ 183 w 535"/>
                <a:gd name="T77" fmla="*/ 14 h 480"/>
                <a:gd name="T78" fmla="*/ 224 w 535"/>
                <a:gd name="T79" fmla="*/ 5 h 480"/>
                <a:gd name="T80" fmla="*/ 267 w 535"/>
                <a:gd name="T8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5" h="480">
                  <a:moveTo>
                    <a:pt x="267" y="0"/>
                  </a:moveTo>
                  <a:lnTo>
                    <a:pt x="311" y="5"/>
                  </a:lnTo>
                  <a:lnTo>
                    <a:pt x="352" y="14"/>
                  </a:lnTo>
                  <a:lnTo>
                    <a:pt x="390" y="28"/>
                  </a:lnTo>
                  <a:lnTo>
                    <a:pt x="425" y="48"/>
                  </a:lnTo>
                  <a:lnTo>
                    <a:pt x="456" y="71"/>
                  </a:lnTo>
                  <a:lnTo>
                    <a:pt x="483" y="99"/>
                  </a:lnTo>
                  <a:lnTo>
                    <a:pt x="504" y="130"/>
                  </a:lnTo>
                  <a:lnTo>
                    <a:pt x="521" y="165"/>
                  </a:lnTo>
                  <a:lnTo>
                    <a:pt x="531" y="202"/>
                  </a:lnTo>
                  <a:lnTo>
                    <a:pt x="535" y="241"/>
                  </a:lnTo>
                  <a:lnTo>
                    <a:pt x="531" y="280"/>
                  </a:lnTo>
                  <a:lnTo>
                    <a:pt x="521" y="316"/>
                  </a:lnTo>
                  <a:lnTo>
                    <a:pt x="504" y="350"/>
                  </a:lnTo>
                  <a:lnTo>
                    <a:pt x="483" y="382"/>
                  </a:lnTo>
                  <a:lnTo>
                    <a:pt x="456" y="410"/>
                  </a:lnTo>
                  <a:lnTo>
                    <a:pt x="425" y="434"/>
                  </a:lnTo>
                  <a:lnTo>
                    <a:pt x="390" y="453"/>
                  </a:lnTo>
                  <a:lnTo>
                    <a:pt x="352" y="468"/>
                  </a:lnTo>
                  <a:lnTo>
                    <a:pt x="311" y="477"/>
                  </a:lnTo>
                  <a:lnTo>
                    <a:pt x="267" y="480"/>
                  </a:lnTo>
                  <a:lnTo>
                    <a:pt x="224" y="477"/>
                  </a:lnTo>
                  <a:lnTo>
                    <a:pt x="183" y="468"/>
                  </a:lnTo>
                  <a:lnTo>
                    <a:pt x="145" y="453"/>
                  </a:lnTo>
                  <a:lnTo>
                    <a:pt x="110" y="434"/>
                  </a:lnTo>
                  <a:lnTo>
                    <a:pt x="79" y="410"/>
                  </a:lnTo>
                  <a:lnTo>
                    <a:pt x="52" y="382"/>
                  </a:lnTo>
                  <a:lnTo>
                    <a:pt x="30" y="350"/>
                  </a:lnTo>
                  <a:lnTo>
                    <a:pt x="14" y="316"/>
                  </a:lnTo>
                  <a:lnTo>
                    <a:pt x="4" y="280"/>
                  </a:lnTo>
                  <a:lnTo>
                    <a:pt x="0" y="241"/>
                  </a:lnTo>
                  <a:lnTo>
                    <a:pt x="4" y="202"/>
                  </a:lnTo>
                  <a:lnTo>
                    <a:pt x="14" y="165"/>
                  </a:lnTo>
                  <a:lnTo>
                    <a:pt x="30" y="130"/>
                  </a:lnTo>
                  <a:lnTo>
                    <a:pt x="52" y="99"/>
                  </a:lnTo>
                  <a:lnTo>
                    <a:pt x="79" y="71"/>
                  </a:lnTo>
                  <a:lnTo>
                    <a:pt x="110" y="48"/>
                  </a:lnTo>
                  <a:lnTo>
                    <a:pt x="145" y="28"/>
                  </a:lnTo>
                  <a:lnTo>
                    <a:pt x="183" y="14"/>
                  </a:lnTo>
                  <a:lnTo>
                    <a:pt x="224" y="5"/>
                  </a:lnTo>
                  <a:lnTo>
                    <a:pt x="2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9" name="Freeform 114">
              <a:extLst>
                <a:ext uri="{FF2B5EF4-FFF2-40B4-BE49-F238E27FC236}">
                  <a16:creationId xmlns:a16="http://schemas.microsoft.com/office/drawing/2014/main" id="{D2B7F777-63EE-015F-0638-AD830489AA5E}"/>
                </a:ext>
              </a:extLst>
            </p:cNvPr>
            <p:cNvSpPr>
              <a:spLocks/>
            </p:cNvSpPr>
            <p:nvPr/>
          </p:nvSpPr>
          <p:spPr bwMode="auto">
            <a:xfrm>
              <a:off x="-584200" y="2909888"/>
              <a:ext cx="106362" cy="109538"/>
            </a:xfrm>
            <a:custGeom>
              <a:avLst/>
              <a:gdLst>
                <a:gd name="T0" fmla="*/ 266 w 534"/>
                <a:gd name="T1" fmla="*/ 0 h 480"/>
                <a:gd name="T2" fmla="*/ 310 w 534"/>
                <a:gd name="T3" fmla="*/ 4 h 480"/>
                <a:gd name="T4" fmla="*/ 351 w 534"/>
                <a:gd name="T5" fmla="*/ 13 h 480"/>
                <a:gd name="T6" fmla="*/ 389 w 534"/>
                <a:gd name="T7" fmla="*/ 28 h 480"/>
                <a:gd name="T8" fmla="*/ 424 w 534"/>
                <a:gd name="T9" fmla="*/ 47 h 480"/>
                <a:gd name="T10" fmla="*/ 455 w 534"/>
                <a:gd name="T11" fmla="*/ 71 h 480"/>
                <a:gd name="T12" fmla="*/ 482 w 534"/>
                <a:gd name="T13" fmla="*/ 99 h 480"/>
                <a:gd name="T14" fmla="*/ 504 w 534"/>
                <a:gd name="T15" fmla="*/ 130 h 480"/>
                <a:gd name="T16" fmla="*/ 520 w 534"/>
                <a:gd name="T17" fmla="*/ 165 h 480"/>
                <a:gd name="T18" fmla="*/ 531 w 534"/>
                <a:gd name="T19" fmla="*/ 201 h 480"/>
                <a:gd name="T20" fmla="*/ 534 w 534"/>
                <a:gd name="T21" fmla="*/ 241 h 480"/>
                <a:gd name="T22" fmla="*/ 531 w 534"/>
                <a:gd name="T23" fmla="*/ 280 h 480"/>
                <a:gd name="T24" fmla="*/ 520 w 534"/>
                <a:gd name="T25" fmla="*/ 316 h 480"/>
                <a:gd name="T26" fmla="*/ 504 w 534"/>
                <a:gd name="T27" fmla="*/ 351 h 480"/>
                <a:gd name="T28" fmla="*/ 482 w 534"/>
                <a:gd name="T29" fmla="*/ 382 h 480"/>
                <a:gd name="T30" fmla="*/ 455 w 534"/>
                <a:gd name="T31" fmla="*/ 411 h 480"/>
                <a:gd name="T32" fmla="*/ 424 w 534"/>
                <a:gd name="T33" fmla="*/ 434 h 480"/>
                <a:gd name="T34" fmla="*/ 389 w 534"/>
                <a:gd name="T35" fmla="*/ 454 h 480"/>
                <a:gd name="T36" fmla="*/ 351 w 534"/>
                <a:gd name="T37" fmla="*/ 468 h 480"/>
                <a:gd name="T38" fmla="*/ 310 w 534"/>
                <a:gd name="T39" fmla="*/ 477 h 480"/>
                <a:gd name="T40" fmla="*/ 266 w 534"/>
                <a:gd name="T41" fmla="*/ 480 h 480"/>
                <a:gd name="T42" fmla="*/ 224 w 534"/>
                <a:gd name="T43" fmla="*/ 477 h 480"/>
                <a:gd name="T44" fmla="*/ 182 w 534"/>
                <a:gd name="T45" fmla="*/ 468 h 480"/>
                <a:gd name="T46" fmla="*/ 144 w 534"/>
                <a:gd name="T47" fmla="*/ 454 h 480"/>
                <a:gd name="T48" fmla="*/ 109 w 534"/>
                <a:gd name="T49" fmla="*/ 434 h 480"/>
                <a:gd name="T50" fmla="*/ 78 w 534"/>
                <a:gd name="T51" fmla="*/ 411 h 480"/>
                <a:gd name="T52" fmla="*/ 51 w 534"/>
                <a:gd name="T53" fmla="*/ 382 h 480"/>
                <a:gd name="T54" fmla="*/ 30 w 534"/>
                <a:gd name="T55" fmla="*/ 351 h 480"/>
                <a:gd name="T56" fmla="*/ 13 w 534"/>
                <a:gd name="T57" fmla="*/ 316 h 480"/>
                <a:gd name="T58" fmla="*/ 3 w 534"/>
                <a:gd name="T59" fmla="*/ 280 h 480"/>
                <a:gd name="T60" fmla="*/ 0 w 534"/>
                <a:gd name="T61" fmla="*/ 241 h 480"/>
                <a:gd name="T62" fmla="*/ 3 w 534"/>
                <a:gd name="T63" fmla="*/ 201 h 480"/>
                <a:gd name="T64" fmla="*/ 13 w 534"/>
                <a:gd name="T65" fmla="*/ 165 h 480"/>
                <a:gd name="T66" fmla="*/ 30 w 534"/>
                <a:gd name="T67" fmla="*/ 130 h 480"/>
                <a:gd name="T68" fmla="*/ 51 w 534"/>
                <a:gd name="T69" fmla="*/ 99 h 480"/>
                <a:gd name="T70" fmla="*/ 78 w 534"/>
                <a:gd name="T71" fmla="*/ 71 h 480"/>
                <a:gd name="T72" fmla="*/ 109 w 534"/>
                <a:gd name="T73" fmla="*/ 47 h 480"/>
                <a:gd name="T74" fmla="*/ 144 w 534"/>
                <a:gd name="T75" fmla="*/ 28 h 480"/>
                <a:gd name="T76" fmla="*/ 182 w 534"/>
                <a:gd name="T77" fmla="*/ 13 h 480"/>
                <a:gd name="T78" fmla="*/ 224 w 534"/>
                <a:gd name="T79" fmla="*/ 4 h 480"/>
                <a:gd name="T80" fmla="*/ 266 w 534"/>
                <a:gd name="T8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80">
                  <a:moveTo>
                    <a:pt x="266" y="0"/>
                  </a:moveTo>
                  <a:lnTo>
                    <a:pt x="310" y="4"/>
                  </a:lnTo>
                  <a:lnTo>
                    <a:pt x="351" y="13"/>
                  </a:lnTo>
                  <a:lnTo>
                    <a:pt x="389" y="28"/>
                  </a:lnTo>
                  <a:lnTo>
                    <a:pt x="424" y="47"/>
                  </a:lnTo>
                  <a:lnTo>
                    <a:pt x="455" y="71"/>
                  </a:lnTo>
                  <a:lnTo>
                    <a:pt x="482" y="99"/>
                  </a:lnTo>
                  <a:lnTo>
                    <a:pt x="504" y="130"/>
                  </a:lnTo>
                  <a:lnTo>
                    <a:pt x="520" y="165"/>
                  </a:lnTo>
                  <a:lnTo>
                    <a:pt x="531" y="201"/>
                  </a:lnTo>
                  <a:lnTo>
                    <a:pt x="534" y="241"/>
                  </a:lnTo>
                  <a:lnTo>
                    <a:pt x="531" y="280"/>
                  </a:lnTo>
                  <a:lnTo>
                    <a:pt x="520" y="316"/>
                  </a:lnTo>
                  <a:lnTo>
                    <a:pt x="504" y="351"/>
                  </a:lnTo>
                  <a:lnTo>
                    <a:pt x="482" y="382"/>
                  </a:lnTo>
                  <a:lnTo>
                    <a:pt x="455" y="411"/>
                  </a:lnTo>
                  <a:lnTo>
                    <a:pt x="424" y="434"/>
                  </a:lnTo>
                  <a:lnTo>
                    <a:pt x="389" y="454"/>
                  </a:lnTo>
                  <a:lnTo>
                    <a:pt x="351" y="468"/>
                  </a:lnTo>
                  <a:lnTo>
                    <a:pt x="310" y="477"/>
                  </a:lnTo>
                  <a:lnTo>
                    <a:pt x="266" y="480"/>
                  </a:lnTo>
                  <a:lnTo>
                    <a:pt x="224" y="477"/>
                  </a:lnTo>
                  <a:lnTo>
                    <a:pt x="182" y="468"/>
                  </a:lnTo>
                  <a:lnTo>
                    <a:pt x="144" y="454"/>
                  </a:lnTo>
                  <a:lnTo>
                    <a:pt x="109" y="434"/>
                  </a:lnTo>
                  <a:lnTo>
                    <a:pt x="78" y="411"/>
                  </a:lnTo>
                  <a:lnTo>
                    <a:pt x="51" y="382"/>
                  </a:lnTo>
                  <a:lnTo>
                    <a:pt x="30" y="351"/>
                  </a:lnTo>
                  <a:lnTo>
                    <a:pt x="13" y="316"/>
                  </a:lnTo>
                  <a:lnTo>
                    <a:pt x="3" y="280"/>
                  </a:lnTo>
                  <a:lnTo>
                    <a:pt x="0" y="241"/>
                  </a:lnTo>
                  <a:lnTo>
                    <a:pt x="3" y="201"/>
                  </a:lnTo>
                  <a:lnTo>
                    <a:pt x="13" y="165"/>
                  </a:lnTo>
                  <a:lnTo>
                    <a:pt x="30" y="130"/>
                  </a:lnTo>
                  <a:lnTo>
                    <a:pt x="51" y="99"/>
                  </a:lnTo>
                  <a:lnTo>
                    <a:pt x="78" y="71"/>
                  </a:lnTo>
                  <a:lnTo>
                    <a:pt x="109" y="47"/>
                  </a:lnTo>
                  <a:lnTo>
                    <a:pt x="144" y="28"/>
                  </a:lnTo>
                  <a:lnTo>
                    <a:pt x="182" y="13"/>
                  </a:lnTo>
                  <a:lnTo>
                    <a:pt x="224" y="4"/>
                  </a:lnTo>
                  <a:lnTo>
                    <a:pt x="2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0" name="Freeform 115">
              <a:extLst>
                <a:ext uri="{FF2B5EF4-FFF2-40B4-BE49-F238E27FC236}">
                  <a16:creationId xmlns:a16="http://schemas.microsoft.com/office/drawing/2014/main" id="{0B1AFDAE-146C-9CF3-EAD8-451010957E93}"/>
                </a:ext>
              </a:extLst>
            </p:cNvPr>
            <p:cNvSpPr>
              <a:spLocks/>
            </p:cNvSpPr>
            <p:nvPr/>
          </p:nvSpPr>
          <p:spPr bwMode="auto">
            <a:xfrm>
              <a:off x="-1162050" y="2909888"/>
              <a:ext cx="106362" cy="109538"/>
            </a:xfrm>
            <a:custGeom>
              <a:avLst/>
              <a:gdLst>
                <a:gd name="T0" fmla="*/ 268 w 535"/>
                <a:gd name="T1" fmla="*/ 0 h 480"/>
                <a:gd name="T2" fmla="*/ 311 w 535"/>
                <a:gd name="T3" fmla="*/ 4 h 480"/>
                <a:gd name="T4" fmla="*/ 352 w 535"/>
                <a:gd name="T5" fmla="*/ 13 h 480"/>
                <a:gd name="T6" fmla="*/ 390 w 535"/>
                <a:gd name="T7" fmla="*/ 28 h 480"/>
                <a:gd name="T8" fmla="*/ 426 w 535"/>
                <a:gd name="T9" fmla="*/ 47 h 480"/>
                <a:gd name="T10" fmla="*/ 457 w 535"/>
                <a:gd name="T11" fmla="*/ 71 h 480"/>
                <a:gd name="T12" fmla="*/ 483 w 535"/>
                <a:gd name="T13" fmla="*/ 99 h 480"/>
                <a:gd name="T14" fmla="*/ 505 w 535"/>
                <a:gd name="T15" fmla="*/ 130 h 480"/>
                <a:gd name="T16" fmla="*/ 521 w 535"/>
                <a:gd name="T17" fmla="*/ 165 h 480"/>
                <a:gd name="T18" fmla="*/ 531 w 535"/>
                <a:gd name="T19" fmla="*/ 201 h 480"/>
                <a:gd name="T20" fmla="*/ 535 w 535"/>
                <a:gd name="T21" fmla="*/ 241 h 480"/>
                <a:gd name="T22" fmla="*/ 531 w 535"/>
                <a:gd name="T23" fmla="*/ 280 h 480"/>
                <a:gd name="T24" fmla="*/ 521 w 535"/>
                <a:gd name="T25" fmla="*/ 316 h 480"/>
                <a:gd name="T26" fmla="*/ 505 w 535"/>
                <a:gd name="T27" fmla="*/ 351 h 480"/>
                <a:gd name="T28" fmla="*/ 483 w 535"/>
                <a:gd name="T29" fmla="*/ 382 h 480"/>
                <a:gd name="T30" fmla="*/ 457 w 535"/>
                <a:gd name="T31" fmla="*/ 411 h 480"/>
                <a:gd name="T32" fmla="*/ 426 w 535"/>
                <a:gd name="T33" fmla="*/ 434 h 480"/>
                <a:gd name="T34" fmla="*/ 390 w 535"/>
                <a:gd name="T35" fmla="*/ 454 h 480"/>
                <a:gd name="T36" fmla="*/ 352 w 535"/>
                <a:gd name="T37" fmla="*/ 468 h 480"/>
                <a:gd name="T38" fmla="*/ 311 w 535"/>
                <a:gd name="T39" fmla="*/ 477 h 480"/>
                <a:gd name="T40" fmla="*/ 268 w 535"/>
                <a:gd name="T41" fmla="*/ 480 h 480"/>
                <a:gd name="T42" fmla="*/ 224 w 535"/>
                <a:gd name="T43" fmla="*/ 477 h 480"/>
                <a:gd name="T44" fmla="*/ 184 w 535"/>
                <a:gd name="T45" fmla="*/ 468 h 480"/>
                <a:gd name="T46" fmla="*/ 144 w 535"/>
                <a:gd name="T47" fmla="*/ 454 h 480"/>
                <a:gd name="T48" fmla="*/ 110 w 535"/>
                <a:gd name="T49" fmla="*/ 434 h 480"/>
                <a:gd name="T50" fmla="*/ 78 w 535"/>
                <a:gd name="T51" fmla="*/ 411 h 480"/>
                <a:gd name="T52" fmla="*/ 53 w 535"/>
                <a:gd name="T53" fmla="*/ 382 h 480"/>
                <a:gd name="T54" fmla="*/ 30 w 535"/>
                <a:gd name="T55" fmla="*/ 351 h 480"/>
                <a:gd name="T56" fmla="*/ 14 w 535"/>
                <a:gd name="T57" fmla="*/ 316 h 480"/>
                <a:gd name="T58" fmla="*/ 4 w 535"/>
                <a:gd name="T59" fmla="*/ 280 h 480"/>
                <a:gd name="T60" fmla="*/ 0 w 535"/>
                <a:gd name="T61" fmla="*/ 241 h 480"/>
                <a:gd name="T62" fmla="*/ 4 w 535"/>
                <a:gd name="T63" fmla="*/ 201 h 480"/>
                <a:gd name="T64" fmla="*/ 14 w 535"/>
                <a:gd name="T65" fmla="*/ 165 h 480"/>
                <a:gd name="T66" fmla="*/ 30 w 535"/>
                <a:gd name="T67" fmla="*/ 130 h 480"/>
                <a:gd name="T68" fmla="*/ 53 w 535"/>
                <a:gd name="T69" fmla="*/ 99 h 480"/>
                <a:gd name="T70" fmla="*/ 78 w 535"/>
                <a:gd name="T71" fmla="*/ 71 h 480"/>
                <a:gd name="T72" fmla="*/ 110 w 535"/>
                <a:gd name="T73" fmla="*/ 47 h 480"/>
                <a:gd name="T74" fmla="*/ 144 w 535"/>
                <a:gd name="T75" fmla="*/ 28 h 480"/>
                <a:gd name="T76" fmla="*/ 184 w 535"/>
                <a:gd name="T77" fmla="*/ 13 h 480"/>
                <a:gd name="T78" fmla="*/ 224 w 535"/>
                <a:gd name="T79" fmla="*/ 4 h 480"/>
                <a:gd name="T80" fmla="*/ 268 w 535"/>
                <a:gd name="T8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5" h="480">
                  <a:moveTo>
                    <a:pt x="268" y="0"/>
                  </a:moveTo>
                  <a:lnTo>
                    <a:pt x="311" y="4"/>
                  </a:lnTo>
                  <a:lnTo>
                    <a:pt x="352" y="13"/>
                  </a:lnTo>
                  <a:lnTo>
                    <a:pt x="390" y="28"/>
                  </a:lnTo>
                  <a:lnTo>
                    <a:pt x="426" y="47"/>
                  </a:lnTo>
                  <a:lnTo>
                    <a:pt x="457" y="71"/>
                  </a:lnTo>
                  <a:lnTo>
                    <a:pt x="483" y="99"/>
                  </a:lnTo>
                  <a:lnTo>
                    <a:pt x="505" y="130"/>
                  </a:lnTo>
                  <a:lnTo>
                    <a:pt x="521" y="165"/>
                  </a:lnTo>
                  <a:lnTo>
                    <a:pt x="531" y="201"/>
                  </a:lnTo>
                  <a:lnTo>
                    <a:pt x="535" y="241"/>
                  </a:lnTo>
                  <a:lnTo>
                    <a:pt x="531" y="280"/>
                  </a:lnTo>
                  <a:lnTo>
                    <a:pt x="521" y="316"/>
                  </a:lnTo>
                  <a:lnTo>
                    <a:pt x="505" y="351"/>
                  </a:lnTo>
                  <a:lnTo>
                    <a:pt x="483" y="382"/>
                  </a:lnTo>
                  <a:lnTo>
                    <a:pt x="457" y="411"/>
                  </a:lnTo>
                  <a:lnTo>
                    <a:pt x="426" y="434"/>
                  </a:lnTo>
                  <a:lnTo>
                    <a:pt x="390" y="454"/>
                  </a:lnTo>
                  <a:lnTo>
                    <a:pt x="352" y="468"/>
                  </a:lnTo>
                  <a:lnTo>
                    <a:pt x="311" y="477"/>
                  </a:lnTo>
                  <a:lnTo>
                    <a:pt x="268" y="480"/>
                  </a:lnTo>
                  <a:lnTo>
                    <a:pt x="224" y="477"/>
                  </a:lnTo>
                  <a:lnTo>
                    <a:pt x="184" y="468"/>
                  </a:lnTo>
                  <a:lnTo>
                    <a:pt x="144" y="454"/>
                  </a:lnTo>
                  <a:lnTo>
                    <a:pt x="110" y="434"/>
                  </a:lnTo>
                  <a:lnTo>
                    <a:pt x="78" y="411"/>
                  </a:lnTo>
                  <a:lnTo>
                    <a:pt x="53" y="382"/>
                  </a:lnTo>
                  <a:lnTo>
                    <a:pt x="30" y="351"/>
                  </a:lnTo>
                  <a:lnTo>
                    <a:pt x="14" y="316"/>
                  </a:lnTo>
                  <a:lnTo>
                    <a:pt x="4" y="280"/>
                  </a:lnTo>
                  <a:lnTo>
                    <a:pt x="0" y="241"/>
                  </a:lnTo>
                  <a:lnTo>
                    <a:pt x="4" y="201"/>
                  </a:lnTo>
                  <a:lnTo>
                    <a:pt x="14" y="165"/>
                  </a:lnTo>
                  <a:lnTo>
                    <a:pt x="30" y="130"/>
                  </a:lnTo>
                  <a:lnTo>
                    <a:pt x="53" y="99"/>
                  </a:lnTo>
                  <a:lnTo>
                    <a:pt x="78" y="71"/>
                  </a:lnTo>
                  <a:lnTo>
                    <a:pt x="110" y="47"/>
                  </a:lnTo>
                  <a:lnTo>
                    <a:pt x="144" y="28"/>
                  </a:lnTo>
                  <a:lnTo>
                    <a:pt x="184" y="13"/>
                  </a:lnTo>
                  <a:lnTo>
                    <a:pt x="224" y="4"/>
                  </a:lnTo>
                  <a:lnTo>
                    <a:pt x="26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1" name="Freeform 116">
              <a:extLst>
                <a:ext uri="{FF2B5EF4-FFF2-40B4-BE49-F238E27FC236}">
                  <a16:creationId xmlns:a16="http://schemas.microsoft.com/office/drawing/2014/main" id="{FF18B60D-676D-9D33-82B9-6C051609902E}"/>
                </a:ext>
              </a:extLst>
            </p:cNvPr>
            <p:cNvSpPr>
              <a:spLocks/>
            </p:cNvSpPr>
            <p:nvPr/>
          </p:nvSpPr>
          <p:spPr bwMode="auto">
            <a:xfrm>
              <a:off x="-1041400" y="2738438"/>
              <a:ext cx="441325" cy="452438"/>
            </a:xfrm>
            <a:custGeom>
              <a:avLst/>
              <a:gdLst>
                <a:gd name="T0" fmla="*/ 1222 w 2224"/>
                <a:gd name="T1" fmla="*/ 181 h 1997"/>
                <a:gd name="T2" fmla="*/ 1148 w 2224"/>
                <a:gd name="T3" fmla="*/ 523 h 1997"/>
                <a:gd name="T4" fmla="*/ 1263 w 2224"/>
                <a:gd name="T5" fmla="*/ 541 h 1997"/>
                <a:gd name="T6" fmla="*/ 1368 w 2224"/>
                <a:gd name="T7" fmla="*/ 580 h 1997"/>
                <a:gd name="T8" fmla="*/ 1463 w 2224"/>
                <a:gd name="T9" fmla="*/ 638 h 1997"/>
                <a:gd name="T10" fmla="*/ 1678 w 2224"/>
                <a:gd name="T11" fmla="*/ 350 h 1997"/>
                <a:gd name="T12" fmla="*/ 1833 w 2224"/>
                <a:gd name="T13" fmla="*/ 491 h 1997"/>
                <a:gd name="T14" fmla="*/ 1514 w 2224"/>
                <a:gd name="T15" fmla="*/ 682 h 1997"/>
                <a:gd name="T16" fmla="*/ 1581 w 2224"/>
                <a:gd name="T17" fmla="*/ 766 h 1997"/>
                <a:gd name="T18" fmla="*/ 1627 w 2224"/>
                <a:gd name="T19" fmla="*/ 862 h 1997"/>
                <a:gd name="T20" fmla="*/ 1650 w 2224"/>
                <a:gd name="T21" fmla="*/ 967 h 1997"/>
                <a:gd name="T22" fmla="*/ 2023 w 2224"/>
                <a:gd name="T23" fmla="*/ 899 h 1997"/>
                <a:gd name="T24" fmla="*/ 2023 w 2224"/>
                <a:gd name="T25" fmla="*/ 1098 h 1997"/>
                <a:gd name="T26" fmla="*/ 1651 w 2224"/>
                <a:gd name="T27" fmla="*/ 1031 h 1997"/>
                <a:gd name="T28" fmla="*/ 1636 w 2224"/>
                <a:gd name="T29" fmla="*/ 1123 h 1997"/>
                <a:gd name="T30" fmla="*/ 1603 w 2224"/>
                <a:gd name="T31" fmla="*/ 1210 h 1997"/>
                <a:gd name="T32" fmla="*/ 1553 w 2224"/>
                <a:gd name="T33" fmla="*/ 1287 h 1997"/>
                <a:gd name="T34" fmla="*/ 1781 w 2224"/>
                <a:gd name="T35" fmla="*/ 1554 h 1997"/>
                <a:gd name="T36" fmla="*/ 1897 w 2224"/>
                <a:gd name="T37" fmla="*/ 1705 h 1997"/>
                <a:gd name="T38" fmla="*/ 1730 w 2224"/>
                <a:gd name="T39" fmla="*/ 1599 h 1997"/>
                <a:gd name="T40" fmla="*/ 1433 w 2224"/>
                <a:gd name="T41" fmla="*/ 1397 h 1997"/>
                <a:gd name="T42" fmla="*/ 1347 w 2224"/>
                <a:gd name="T43" fmla="*/ 1444 h 1997"/>
                <a:gd name="T44" fmla="*/ 1251 w 2224"/>
                <a:gd name="T45" fmla="*/ 1476 h 1997"/>
                <a:gd name="T46" fmla="*/ 1148 w 2224"/>
                <a:gd name="T47" fmla="*/ 1491 h 1997"/>
                <a:gd name="T48" fmla="*/ 1222 w 2224"/>
                <a:gd name="T49" fmla="*/ 1816 h 1997"/>
                <a:gd name="T50" fmla="*/ 1001 w 2224"/>
                <a:gd name="T51" fmla="*/ 1816 h 1997"/>
                <a:gd name="T52" fmla="*/ 1076 w 2224"/>
                <a:gd name="T53" fmla="*/ 1491 h 1997"/>
                <a:gd name="T54" fmla="*/ 972 w 2224"/>
                <a:gd name="T55" fmla="*/ 1476 h 1997"/>
                <a:gd name="T56" fmla="*/ 876 w 2224"/>
                <a:gd name="T57" fmla="*/ 1444 h 1997"/>
                <a:gd name="T58" fmla="*/ 788 w 2224"/>
                <a:gd name="T59" fmla="*/ 1397 h 1997"/>
                <a:gd name="T60" fmla="*/ 492 w 2224"/>
                <a:gd name="T61" fmla="*/ 1599 h 1997"/>
                <a:gd name="T62" fmla="*/ 324 w 2224"/>
                <a:gd name="T63" fmla="*/ 1705 h 1997"/>
                <a:gd name="T64" fmla="*/ 442 w 2224"/>
                <a:gd name="T65" fmla="*/ 1554 h 1997"/>
                <a:gd name="T66" fmla="*/ 665 w 2224"/>
                <a:gd name="T67" fmla="*/ 1280 h 1997"/>
                <a:gd name="T68" fmla="*/ 609 w 2224"/>
                <a:gd name="T69" fmla="*/ 1189 h 1997"/>
                <a:gd name="T70" fmla="*/ 578 w 2224"/>
                <a:gd name="T71" fmla="*/ 1086 h 1997"/>
                <a:gd name="T72" fmla="*/ 201 w 2224"/>
                <a:gd name="T73" fmla="*/ 1031 h 1997"/>
                <a:gd name="T74" fmla="*/ 0 w 2224"/>
                <a:gd name="T75" fmla="*/ 999 h 1997"/>
                <a:gd name="T76" fmla="*/ 201 w 2224"/>
                <a:gd name="T77" fmla="*/ 967 h 1997"/>
                <a:gd name="T78" fmla="*/ 581 w 2224"/>
                <a:gd name="T79" fmla="*/ 912 h 1997"/>
                <a:gd name="T80" fmla="*/ 616 w 2224"/>
                <a:gd name="T81" fmla="*/ 812 h 1997"/>
                <a:gd name="T82" fmla="*/ 673 w 2224"/>
                <a:gd name="T83" fmla="*/ 722 h 1997"/>
                <a:gd name="T84" fmla="*/ 442 w 2224"/>
                <a:gd name="T85" fmla="*/ 443 h 1997"/>
                <a:gd name="T86" fmla="*/ 324 w 2224"/>
                <a:gd name="T87" fmla="*/ 293 h 1997"/>
                <a:gd name="T88" fmla="*/ 492 w 2224"/>
                <a:gd name="T89" fmla="*/ 397 h 1997"/>
                <a:gd name="T90" fmla="*/ 805 w 2224"/>
                <a:gd name="T91" fmla="*/ 607 h 1997"/>
                <a:gd name="T92" fmla="*/ 905 w 2224"/>
                <a:gd name="T93" fmla="*/ 558 h 1997"/>
                <a:gd name="T94" fmla="*/ 1017 w 2224"/>
                <a:gd name="T95" fmla="*/ 529 h 1997"/>
                <a:gd name="T96" fmla="*/ 1076 w 2224"/>
                <a:gd name="T97" fmla="*/ 181 h 1997"/>
                <a:gd name="T98" fmla="*/ 1111 w 2224"/>
                <a:gd name="T99" fmla="*/ 0 h 1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24" h="1997">
                  <a:moveTo>
                    <a:pt x="1111" y="0"/>
                  </a:moveTo>
                  <a:lnTo>
                    <a:pt x="1222" y="181"/>
                  </a:lnTo>
                  <a:lnTo>
                    <a:pt x="1148" y="181"/>
                  </a:lnTo>
                  <a:lnTo>
                    <a:pt x="1148" y="523"/>
                  </a:lnTo>
                  <a:lnTo>
                    <a:pt x="1206" y="529"/>
                  </a:lnTo>
                  <a:lnTo>
                    <a:pt x="1263" y="541"/>
                  </a:lnTo>
                  <a:lnTo>
                    <a:pt x="1317" y="558"/>
                  </a:lnTo>
                  <a:lnTo>
                    <a:pt x="1368" y="580"/>
                  </a:lnTo>
                  <a:lnTo>
                    <a:pt x="1418" y="607"/>
                  </a:lnTo>
                  <a:lnTo>
                    <a:pt x="1463" y="638"/>
                  </a:lnTo>
                  <a:lnTo>
                    <a:pt x="1730" y="397"/>
                  </a:lnTo>
                  <a:lnTo>
                    <a:pt x="1678" y="350"/>
                  </a:lnTo>
                  <a:lnTo>
                    <a:pt x="1897" y="293"/>
                  </a:lnTo>
                  <a:lnTo>
                    <a:pt x="1833" y="491"/>
                  </a:lnTo>
                  <a:lnTo>
                    <a:pt x="1781" y="443"/>
                  </a:lnTo>
                  <a:lnTo>
                    <a:pt x="1514" y="682"/>
                  </a:lnTo>
                  <a:lnTo>
                    <a:pt x="1550" y="722"/>
                  </a:lnTo>
                  <a:lnTo>
                    <a:pt x="1581" y="766"/>
                  </a:lnTo>
                  <a:lnTo>
                    <a:pt x="1607" y="813"/>
                  </a:lnTo>
                  <a:lnTo>
                    <a:pt x="1627" y="862"/>
                  </a:lnTo>
                  <a:lnTo>
                    <a:pt x="1642" y="913"/>
                  </a:lnTo>
                  <a:lnTo>
                    <a:pt x="1650" y="967"/>
                  </a:lnTo>
                  <a:lnTo>
                    <a:pt x="2023" y="967"/>
                  </a:lnTo>
                  <a:lnTo>
                    <a:pt x="2023" y="899"/>
                  </a:lnTo>
                  <a:lnTo>
                    <a:pt x="2224" y="999"/>
                  </a:lnTo>
                  <a:lnTo>
                    <a:pt x="2023" y="1098"/>
                  </a:lnTo>
                  <a:lnTo>
                    <a:pt x="2023" y="1031"/>
                  </a:lnTo>
                  <a:lnTo>
                    <a:pt x="1651" y="1031"/>
                  </a:lnTo>
                  <a:lnTo>
                    <a:pt x="1646" y="1078"/>
                  </a:lnTo>
                  <a:lnTo>
                    <a:pt x="1636" y="1123"/>
                  </a:lnTo>
                  <a:lnTo>
                    <a:pt x="1622" y="1168"/>
                  </a:lnTo>
                  <a:lnTo>
                    <a:pt x="1603" y="1210"/>
                  </a:lnTo>
                  <a:lnTo>
                    <a:pt x="1580" y="1249"/>
                  </a:lnTo>
                  <a:lnTo>
                    <a:pt x="1553" y="1287"/>
                  </a:lnTo>
                  <a:lnTo>
                    <a:pt x="1522" y="1322"/>
                  </a:lnTo>
                  <a:lnTo>
                    <a:pt x="1781" y="1554"/>
                  </a:lnTo>
                  <a:lnTo>
                    <a:pt x="1833" y="1506"/>
                  </a:lnTo>
                  <a:lnTo>
                    <a:pt x="1897" y="1705"/>
                  </a:lnTo>
                  <a:lnTo>
                    <a:pt x="1678" y="1646"/>
                  </a:lnTo>
                  <a:lnTo>
                    <a:pt x="1730" y="1599"/>
                  </a:lnTo>
                  <a:lnTo>
                    <a:pt x="1473" y="1369"/>
                  </a:lnTo>
                  <a:lnTo>
                    <a:pt x="1433" y="1397"/>
                  </a:lnTo>
                  <a:lnTo>
                    <a:pt x="1391" y="1422"/>
                  </a:lnTo>
                  <a:lnTo>
                    <a:pt x="1347" y="1444"/>
                  </a:lnTo>
                  <a:lnTo>
                    <a:pt x="1300" y="1462"/>
                  </a:lnTo>
                  <a:lnTo>
                    <a:pt x="1251" y="1476"/>
                  </a:lnTo>
                  <a:lnTo>
                    <a:pt x="1200" y="1485"/>
                  </a:lnTo>
                  <a:lnTo>
                    <a:pt x="1148" y="1491"/>
                  </a:lnTo>
                  <a:lnTo>
                    <a:pt x="1148" y="1816"/>
                  </a:lnTo>
                  <a:lnTo>
                    <a:pt x="1222" y="1816"/>
                  </a:lnTo>
                  <a:lnTo>
                    <a:pt x="1111" y="1997"/>
                  </a:lnTo>
                  <a:lnTo>
                    <a:pt x="1001" y="1816"/>
                  </a:lnTo>
                  <a:lnTo>
                    <a:pt x="1076" y="1816"/>
                  </a:lnTo>
                  <a:lnTo>
                    <a:pt x="1076" y="1491"/>
                  </a:lnTo>
                  <a:lnTo>
                    <a:pt x="1022" y="1485"/>
                  </a:lnTo>
                  <a:lnTo>
                    <a:pt x="972" y="1476"/>
                  </a:lnTo>
                  <a:lnTo>
                    <a:pt x="923" y="1462"/>
                  </a:lnTo>
                  <a:lnTo>
                    <a:pt x="876" y="1444"/>
                  </a:lnTo>
                  <a:lnTo>
                    <a:pt x="831" y="1422"/>
                  </a:lnTo>
                  <a:lnTo>
                    <a:pt x="788" y="1397"/>
                  </a:lnTo>
                  <a:lnTo>
                    <a:pt x="749" y="1369"/>
                  </a:lnTo>
                  <a:lnTo>
                    <a:pt x="492" y="1599"/>
                  </a:lnTo>
                  <a:lnTo>
                    <a:pt x="546" y="1647"/>
                  </a:lnTo>
                  <a:lnTo>
                    <a:pt x="324" y="1705"/>
                  </a:lnTo>
                  <a:lnTo>
                    <a:pt x="389" y="1506"/>
                  </a:lnTo>
                  <a:lnTo>
                    <a:pt x="442" y="1554"/>
                  </a:lnTo>
                  <a:lnTo>
                    <a:pt x="700" y="1321"/>
                  </a:lnTo>
                  <a:lnTo>
                    <a:pt x="665" y="1280"/>
                  </a:lnTo>
                  <a:lnTo>
                    <a:pt x="635" y="1236"/>
                  </a:lnTo>
                  <a:lnTo>
                    <a:pt x="609" y="1189"/>
                  </a:lnTo>
                  <a:lnTo>
                    <a:pt x="590" y="1138"/>
                  </a:lnTo>
                  <a:lnTo>
                    <a:pt x="578" y="1086"/>
                  </a:lnTo>
                  <a:lnTo>
                    <a:pt x="571" y="1031"/>
                  </a:lnTo>
                  <a:lnTo>
                    <a:pt x="201" y="1031"/>
                  </a:lnTo>
                  <a:lnTo>
                    <a:pt x="201" y="1098"/>
                  </a:lnTo>
                  <a:lnTo>
                    <a:pt x="0" y="999"/>
                  </a:lnTo>
                  <a:lnTo>
                    <a:pt x="201" y="899"/>
                  </a:lnTo>
                  <a:lnTo>
                    <a:pt x="201" y="967"/>
                  </a:lnTo>
                  <a:lnTo>
                    <a:pt x="572" y="967"/>
                  </a:lnTo>
                  <a:lnTo>
                    <a:pt x="581" y="912"/>
                  </a:lnTo>
                  <a:lnTo>
                    <a:pt x="596" y="861"/>
                  </a:lnTo>
                  <a:lnTo>
                    <a:pt x="616" y="812"/>
                  </a:lnTo>
                  <a:lnTo>
                    <a:pt x="641" y="765"/>
                  </a:lnTo>
                  <a:lnTo>
                    <a:pt x="673" y="722"/>
                  </a:lnTo>
                  <a:lnTo>
                    <a:pt x="709" y="682"/>
                  </a:lnTo>
                  <a:lnTo>
                    <a:pt x="442" y="443"/>
                  </a:lnTo>
                  <a:lnTo>
                    <a:pt x="389" y="491"/>
                  </a:lnTo>
                  <a:lnTo>
                    <a:pt x="324" y="293"/>
                  </a:lnTo>
                  <a:lnTo>
                    <a:pt x="546" y="350"/>
                  </a:lnTo>
                  <a:lnTo>
                    <a:pt x="492" y="397"/>
                  </a:lnTo>
                  <a:lnTo>
                    <a:pt x="760" y="638"/>
                  </a:lnTo>
                  <a:lnTo>
                    <a:pt x="805" y="607"/>
                  </a:lnTo>
                  <a:lnTo>
                    <a:pt x="853" y="580"/>
                  </a:lnTo>
                  <a:lnTo>
                    <a:pt x="905" y="558"/>
                  </a:lnTo>
                  <a:lnTo>
                    <a:pt x="960" y="541"/>
                  </a:lnTo>
                  <a:lnTo>
                    <a:pt x="1017" y="529"/>
                  </a:lnTo>
                  <a:lnTo>
                    <a:pt x="1076" y="523"/>
                  </a:lnTo>
                  <a:lnTo>
                    <a:pt x="1076" y="181"/>
                  </a:lnTo>
                  <a:lnTo>
                    <a:pt x="1001" y="181"/>
                  </a:lnTo>
                  <a:lnTo>
                    <a:pt x="111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2" name="Freeform 117">
              <a:extLst>
                <a:ext uri="{FF2B5EF4-FFF2-40B4-BE49-F238E27FC236}">
                  <a16:creationId xmlns:a16="http://schemas.microsoft.com/office/drawing/2014/main" id="{E8A4095F-0F75-D3A8-0620-27753BF9D7CD}"/>
                </a:ext>
              </a:extLst>
            </p:cNvPr>
            <p:cNvSpPr>
              <a:spLocks/>
            </p:cNvSpPr>
            <p:nvPr/>
          </p:nvSpPr>
          <p:spPr bwMode="auto">
            <a:xfrm>
              <a:off x="-668338" y="2700338"/>
              <a:ext cx="104775" cy="109538"/>
            </a:xfrm>
            <a:custGeom>
              <a:avLst/>
              <a:gdLst>
                <a:gd name="T0" fmla="*/ 267 w 534"/>
                <a:gd name="T1" fmla="*/ 0 h 479"/>
                <a:gd name="T2" fmla="*/ 310 w 534"/>
                <a:gd name="T3" fmla="*/ 3 h 479"/>
                <a:gd name="T4" fmla="*/ 351 w 534"/>
                <a:gd name="T5" fmla="*/ 12 h 479"/>
                <a:gd name="T6" fmla="*/ 390 w 534"/>
                <a:gd name="T7" fmla="*/ 27 h 479"/>
                <a:gd name="T8" fmla="*/ 424 w 534"/>
                <a:gd name="T9" fmla="*/ 47 h 479"/>
                <a:gd name="T10" fmla="*/ 456 w 534"/>
                <a:gd name="T11" fmla="*/ 71 h 479"/>
                <a:gd name="T12" fmla="*/ 483 w 534"/>
                <a:gd name="T13" fmla="*/ 98 h 479"/>
                <a:gd name="T14" fmla="*/ 504 w 534"/>
                <a:gd name="T15" fmla="*/ 129 h 479"/>
                <a:gd name="T16" fmla="*/ 521 w 534"/>
                <a:gd name="T17" fmla="*/ 164 h 479"/>
                <a:gd name="T18" fmla="*/ 531 w 534"/>
                <a:gd name="T19" fmla="*/ 200 h 479"/>
                <a:gd name="T20" fmla="*/ 534 w 534"/>
                <a:gd name="T21" fmla="*/ 240 h 479"/>
                <a:gd name="T22" fmla="*/ 531 w 534"/>
                <a:gd name="T23" fmla="*/ 278 h 479"/>
                <a:gd name="T24" fmla="*/ 521 w 534"/>
                <a:gd name="T25" fmla="*/ 315 h 479"/>
                <a:gd name="T26" fmla="*/ 504 w 534"/>
                <a:gd name="T27" fmla="*/ 349 h 479"/>
                <a:gd name="T28" fmla="*/ 483 w 534"/>
                <a:gd name="T29" fmla="*/ 380 h 479"/>
                <a:gd name="T30" fmla="*/ 456 w 534"/>
                <a:gd name="T31" fmla="*/ 409 h 479"/>
                <a:gd name="T32" fmla="*/ 424 w 534"/>
                <a:gd name="T33" fmla="*/ 433 h 479"/>
                <a:gd name="T34" fmla="*/ 390 w 534"/>
                <a:gd name="T35" fmla="*/ 453 h 479"/>
                <a:gd name="T36" fmla="*/ 351 w 534"/>
                <a:gd name="T37" fmla="*/ 467 h 479"/>
                <a:gd name="T38" fmla="*/ 310 w 534"/>
                <a:gd name="T39" fmla="*/ 476 h 479"/>
                <a:gd name="T40" fmla="*/ 267 w 534"/>
                <a:gd name="T41" fmla="*/ 479 h 479"/>
                <a:gd name="T42" fmla="*/ 224 w 534"/>
                <a:gd name="T43" fmla="*/ 476 h 479"/>
                <a:gd name="T44" fmla="*/ 182 w 534"/>
                <a:gd name="T45" fmla="*/ 467 h 479"/>
                <a:gd name="T46" fmla="*/ 144 w 534"/>
                <a:gd name="T47" fmla="*/ 453 h 479"/>
                <a:gd name="T48" fmla="*/ 110 w 534"/>
                <a:gd name="T49" fmla="*/ 433 h 479"/>
                <a:gd name="T50" fmla="*/ 78 w 534"/>
                <a:gd name="T51" fmla="*/ 409 h 479"/>
                <a:gd name="T52" fmla="*/ 51 w 534"/>
                <a:gd name="T53" fmla="*/ 380 h 479"/>
                <a:gd name="T54" fmla="*/ 30 w 534"/>
                <a:gd name="T55" fmla="*/ 349 h 479"/>
                <a:gd name="T56" fmla="*/ 13 w 534"/>
                <a:gd name="T57" fmla="*/ 315 h 479"/>
                <a:gd name="T58" fmla="*/ 3 w 534"/>
                <a:gd name="T59" fmla="*/ 278 h 479"/>
                <a:gd name="T60" fmla="*/ 0 w 534"/>
                <a:gd name="T61" fmla="*/ 240 h 479"/>
                <a:gd name="T62" fmla="*/ 3 w 534"/>
                <a:gd name="T63" fmla="*/ 200 h 479"/>
                <a:gd name="T64" fmla="*/ 13 w 534"/>
                <a:gd name="T65" fmla="*/ 164 h 479"/>
                <a:gd name="T66" fmla="*/ 30 w 534"/>
                <a:gd name="T67" fmla="*/ 129 h 479"/>
                <a:gd name="T68" fmla="*/ 51 w 534"/>
                <a:gd name="T69" fmla="*/ 98 h 479"/>
                <a:gd name="T70" fmla="*/ 78 w 534"/>
                <a:gd name="T71" fmla="*/ 71 h 479"/>
                <a:gd name="T72" fmla="*/ 110 w 534"/>
                <a:gd name="T73" fmla="*/ 47 h 479"/>
                <a:gd name="T74" fmla="*/ 144 w 534"/>
                <a:gd name="T75" fmla="*/ 27 h 479"/>
                <a:gd name="T76" fmla="*/ 182 w 534"/>
                <a:gd name="T77" fmla="*/ 12 h 479"/>
                <a:gd name="T78" fmla="*/ 224 w 534"/>
                <a:gd name="T79" fmla="*/ 3 h 479"/>
                <a:gd name="T80" fmla="*/ 267 w 534"/>
                <a:gd name="T81" fmla="*/ 0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79">
                  <a:moveTo>
                    <a:pt x="267" y="0"/>
                  </a:moveTo>
                  <a:lnTo>
                    <a:pt x="310" y="3"/>
                  </a:lnTo>
                  <a:lnTo>
                    <a:pt x="351" y="12"/>
                  </a:lnTo>
                  <a:lnTo>
                    <a:pt x="390" y="27"/>
                  </a:lnTo>
                  <a:lnTo>
                    <a:pt x="424" y="47"/>
                  </a:lnTo>
                  <a:lnTo>
                    <a:pt x="456" y="71"/>
                  </a:lnTo>
                  <a:lnTo>
                    <a:pt x="483" y="98"/>
                  </a:lnTo>
                  <a:lnTo>
                    <a:pt x="504" y="129"/>
                  </a:lnTo>
                  <a:lnTo>
                    <a:pt x="521" y="164"/>
                  </a:lnTo>
                  <a:lnTo>
                    <a:pt x="531" y="200"/>
                  </a:lnTo>
                  <a:lnTo>
                    <a:pt x="534" y="240"/>
                  </a:lnTo>
                  <a:lnTo>
                    <a:pt x="531" y="278"/>
                  </a:lnTo>
                  <a:lnTo>
                    <a:pt x="521" y="315"/>
                  </a:lnTo>
                  <a:lnTo>
                    <a:pt x="504" y="349"/>
                  </a:lnTo>
                  <a:lnTo>
                    <a:pt x="483" y="380"/>
                  </a:lnTo>
                  <a:lnTo>
                    <a:pt x="456" y="409"/>
                  </a:lnTo>
                  <a:lnTo>
                    <a:pt x="424" y="433"/>
                  </a:lnTo>
                  <a:lnTo>
                    <a:pt x="390" y="453"/>
                  </a:lnTo>
                  <a:lnTo>
                    <a:pt x="351" y="467"/>
                  </a:lnTo>
                  <a:lnTo>
                    <a:pt x="310" y="476"/>
                  </a:lnTo>
                  <a:lnTo>
                    <a:pt x="267" y="479"/>
                  </a:lnTo>
                  <a:lnTo>
                    <a:pt x="224" y="476"/>
                  </a:lnTo>
                  <a:lnTo>
                    <a:pt x="182" y="467"/>
                  </a:lnTo>
                  <a:lnTo>
                    <a:pt x="144" y="453"/>
                  </a:lnTo>
                  <a:lnTo>
                    <a:pt x="110" y="433"/>
                  </a:lnTo>
                  <a:lnTo>
                    <a:pt x="78" y="409"/>
                  </a:lnTo>
                  <a:lnTo>
                    <a:pt x="51" y="380"/>
                  </a:lnTo>
                  <a:lnTo>
                    <a:pt x="30" y="349"/>
                  </a:lnTo>
                  <a:lnTo>
                    <a:pt x="13" y="315"/>
                  </a:lnTo>
                  <a:lnTo>
                    <a:pt x="3" y="278"/>
                  </a:lnTo>
                  <a:lnTo>
                    <a:pt x="0" y="240"/>
                  </a:lnTo>
                  <a:lnTo>
                    <a:pt x="3" y="200"/>
                  </a:lnTo>
                  <a:lnTo>
                    <a:pt x="13" y="164"/>
                  </a:lnTo>
                  <a:lnTo>
                    <a:pt x="30" y="129"/>
                  </a:lnTo>
                  <a:lnTo>
                    <a:pt x="51" y="98"/>
                  </a:lnTo>
                  <a:lnTo>
                    <a:pt x="78" y="71"/>
                  </a:lnTo>
                  <a:lnTo>
                    <a:pt x="110" y="47"/>
                  </a:lnTo>
                  <a:lnTo>
                    <a:pt x="144" y="27"/>
                  </a:lnTo>
                  <a:lnTo>
                    <a:pt x="182" y="12"/>
                  </a:lnTo>
                  <a:lnTo>
                    <a:pt x="224" y="3"/>
                  </a:lnTo>
                  <a:lnTo>
                    <a:pt x="2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3" name="Freeform 118">
              <a:extLst>
                <a:ext uri="{FF2B5EF4-FFF2-40B4-BE49-F238E27FC236}">
                  <a16:creationId xmlns:a16="http://schemas.microsoft.com/office/drawing/2014/main" id="{B6BF7233-6D79-A2E3-0AB1-8DC09590C622}"/>
                </a:ext>
              </a:extLst>
            </p:cNvPr>
            <p:cNvSpPr>
              <a:spLocks/>
            </p:cNvSpPr>
            <p:nvPr/>
          </p:nvSpPr>
          <p:spPr bwMode="auto">
            <a:xfrm>
              <a:off x="-1077913" y="3119438"/>
              <a:ext cx="106362" cy="109538"/>
            </a:xfrm>
            <a:custGeom>
              <a:avLst/>
              <a:gdLst>
                <a:gd name="T0" fmla="*/ 266 w 534"/>
                <a:gd name="T1" fmla="*/ 0 h 481"/>
                <a:gd name="T2" fmla="*/ 310 w 534"/>
                <a:gd name="T3" fmla="*/ 4 h 481"/>
                <a:gd name="T4" fmla="*/ 351 w 534"/>
                <a:gd name="T5" fmla="*/ 13 h 481"/>
                <a:gd name="T6" fmla="*/ 390 w 534"/>
                <a:gd name="T7" fmla="*/ 28 h 481"/>
                <a:gd name="T8" fmla="*/ 424 w 534"/>
                <a:gd name="T9" fmla="*/ 48 h 481"/>
                <a:gd name="T10" fmla="*/ 456 w 534"/>
                <a:gd name="T11" fmla="*/ 71 h 481"/>
                <a:gd name="T12" fmla="*/ 483 w 534"/>
                <a:gd name="T13" fmla="*/ 99 h 481"/>
                <a:gd name="T14" fmla="*/ 504 w 534"/>
                <a:gd name="T15" fmla="*/ 130 h 481"/>
                <a:gd name="T16" fmla="*/ 521 w 534"/>
                <a:gd name="T17" fmla="*/ 165 h 481"/>
                <a:gd name="T18" fmla="*/ 531 w 534"/>
                <a:gd name="T19" fmla="*/ 202 h 481"/>
                <a:gd name="T20" fmla="*/ 534 w 534"/>
                <a:gd name="T21" fmla="*/ 241 h 481"/>
                <a:gd name="T22" fmla="*/ 531 w 534"/>
                <a:gd name="T23" fmla="*/ 280 h 481"/>
                <a:gd name="T24" fmla="*/ 521 w 534"/>
                <a:gd name="T25" fmla="*/ 316 h 481"/>
                <a:gd name="T26" fmla="*/ 504 w 534"/>
                <a:gd name="T27" fmla="*/ 350 h 481"/>
                <a:gd name="T28" fmla="*/ 483 w 534"/>
                <a:gd name="T29" fmla="*/ 382 h 481"/>
                <a:gd name="T30" fmla="*/ 456 w 534"/>
                <a:gd name="T31" fmla="*/ 411 h 481"/>
                <a:gd name="T32" fmla="*/ 424 w 534"/>
                <a:gd name="T33" fmla="*/ 434 h 481"/>
                <a:gd name="T34" fmla="*/ 390 w 534"/>
                <a:gd name="T35" fmla="*/ 454 h 481"/>
                <a:gd name="T36" fmla="*/ 351 w 534"/>
                <a:gd name="T37" fmla="*/ 468 h 481"/>
                <a:gd name="T38" fmla="*/ 310 w 534"/>
                <a:gd name="T39" fmla="*/ 477 h 481"/>
                <a:gd name="T40" fmla="*/ 266 w 534"/>
                <a:gd name="T41" fmla="*/ 481 h 481"/>
                <a:gd name="T42" fmla="*/ 224 w 534"/>
                <a:gd name="T43" fmla="*/ 477 h 481"/>
                <a:gd name="T44" fmla="*/ 182 w 534"/>
                <a:gd name="T45" fmla="*/ 468 h 481"/>
                <a:gd name="T46" fmla="*/ 144 w 534"/>
                <a:gd name="T47" fmla="*/ 454 h 481"/>
                <a:gd name="T48" fmla="*/ 109 w 534"/>
                <a:gd name="T49" fmla="*/ 434 h 481"/>
                <a:gd name="T50" fmla="*/ 78 w 534"/>
                <a:gd name="T51" fmla="*/ 411 h 481"/>
                <a:gd name="T52" fmla="*/ 51 w 534"/>
                <a:gd name="T53" fmla="*/ 382 h 481"/>
                <a:gd name="T54" fmla="*/ 30 w 534"/>
                <a:gd name="T55" fmla="*/ 350 h 481"/>
                <a:gd name="T56" fmla="*/ 14 w 534"/>
                <a:gd name="T57" fmla="*/ 316 h 481"/>
                <a:gd name="T58" fmla="*/ 4 w 534"/>
                <a:gd name="T59" fmla="*/ 280 h 481"/>
                <a:gd name="T60" fmla="*/ 0 w 534"/>
                <a:gd name="T61" fmla="*/ 241 h 481"/>
                <a:gd name="T62" fmla="*/ 4 w 534"/>
                <a:gd name="T63" fmla="*/ 202 h 481"/>
                <a:gd name="T64" fmla="*/ 14 w 534"/>
                <a:gd name="T65" fmla="*/ 165 h 481"/>
                <a:gd name="T66" fmla="*/ 30 w 534"/>
                <a:gd name="T67" fmla="*/ 130 h 481"/>
                <a:gd name="T68" fmla="*/ 51 w 534"/>
                <a:gd name="T69" fmla="*/ 99 h 481"/>
                <a:gd name="T70" fmla="*/ 78 w 534"/>
                <a:gd name="T71" fmla="*/ 71 h 481"/>
                <a:gd name="T72" fmla="*/ 109 w 534"/>
                <a:gd name="T73" fmla="*/ 48 h 481"/>
                <a:gd name="T74" fmla="*/ 144 w 534"/>
                <a:gd name="T75" fmla="*/ 28 h 481"/>
                <a:gd name="T76" fmla="*/ 182 w 534"/>
                <a:gd name="T77" fmla="*/ 13 h 481"/>
                <a:gd name="T78" fmla="*/ 224 w 534"/>
                <a:gd name="T79" fmla="*/ 4 h 481"/>
                <a:gd name="T80" fmla="*/ 266 w 534"/>
                <a:gd name="T8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81">
                  <a:moveTo>
                    <a:pt x="266" y="0"/>
                  </a:moveTo>
                  <a:lnTo>
                    <a:pt x="310" y="4"/>
                  </a:lnTo>
                  <a:lnTo>
                    <a:pt x="351" y="13"/>
                  </a:lnTo>
                  <a:lnTo>
                    <a:pt x="390" y="28"/>
                  </a:lnTo>
                  <a:lnTo>
                    <a:pt x="424" y="48"/>
                  </a:lnTo>
                  <a:lnTo>
                    <a:pt x="456" y="71"/>
                  </a:lnTo>
                  <a:lnTo>
                    <a:pt x="483" y="99"/>
                  </a:lnTo>
                  <a:lnTo>
                    <a:pt x="504" y="130"/>
                  </a:lnTo>
                  <a:lnTo>
                    <a:pt x="521" y="165"/>
                  </a:lnTo>
                  <a:lnTo>
                    <a:pt x="531" y="202"/>
                  </a:lnTo>
                  <a:lnTo>
                    <a:pt x="534" y="241"/>
                  </a:lnTo>
                  <a:lnTo>
                    <a:pt x="531" y="280"/>
                  </a:lnTo>
                  <a:lnTo>
                    <a:pt x="521" y="316"/>
                  </a:lnTo>
                  <a:lnTo>
                    <a:pt x="504" y="350"/>
                  </a:lnTo>
                  <a:lnTo>
                    <a:pt x="483" y="382"/>
                  </a:lnTo>
                  <a:lnTo>
                    <a:pt x="456" y="411"/>
                  </a:lnTo>
                  <a:lnTo>
                    <a:pt x="424" y="434"/>
                  </a:lnTo>
                  <a:lnTo>
                    <a:pt x="390" y="454"/>
                  </a:lnTo>
                  <a:lnTo>
                    <a:pt x="351" y="468"/>
                  </a:lnTo>
                  <a:lnTo>
                    <a:pt x="310" y="477"/>
                  </a:lnTo>
                  <a:lnTo>
                    <a:pt x="266" y="481"/>
                  </a:lnTo>
                  <a:lnTo>
                    <a:pt x="224" y="477"/>
                  </a:lnTo>
                  <a:lnTo>
                    <a:pt x="182" y="468"/>
                  </a:lnTo>
                  <a:lnTo>
                    <a:pt x="144" y="454"/>
                  </a:lnTo>
                  <a:lnTo>
                    <a:pt x="109" y="434"/>
                  </a:lnTo>
                  <a:lnTo>
                    <a:pt x="78" y="411"/>
                  </a:lnTo>
                  <a:lnTo>
                    <a:pt x="51" y="382"/>
                  </a:lnTo>
                  <a:lnTo>
                    <a:pt x="30" y="350"/>
                  </a:lnTo>
                  <a:lnTo>
                    <a:pt x="14" y="316"/>
                  </a:lnTo>
                  <a:lnTo>
                    <a:pt x="4" y="280"/>
                  </a:lnTo>
                  <a:lnTo>
                    <a:pt x="0" y="241"/>
                  </a:lnTo>
                  <a:lnTo>
                    <a:pt x="4" y="202"/>
                  </a:lnTo>
                  <a:lnTo>
                    <a:pt x="14" y="165"/>
                  </a:lnTo>
                  <a:lnTo>
                    <a:pt x="30" y="130"/>
                  </a:lnTo>
                  <a:lnTo>
                    <a:pt x="51" y="99"/>
                  </a:lnTo>
                  <a:lnTo>
                    <a:pt x="78" y="71"/>
                  </a:lnTo>
                  <a:lnTo>
                    <a:pt x="109" y="48"/>
                  </a:lnTo>
                  <a:lnTo>
                    <a:pt x="144" y="28"/>
                  </a:lnTo>
                  <a:lnTo>
                    <a:pt x="182" y="13"/>
                  </a:lnTo>
                  <a:lnTo>
                    <a:pt x="224" y="4"/>
                  </a:lnTo>
                  <a:lnTo>
                    <a:pt x="2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4" name="Freeform 119">
              <a:extLst>
                <a:ext uri="{FF2B5EF4-FFF2-40B4-BE49-F238E27FC236}">
                  <a16:creationId xmlns:a16="http://schemas.microsoft.com/office/drawing/2014/main" id="{E33A8667-240C-7A00-742B-F791D0E11854}"/>
                </a:ext>
              </a:extLst>
            </p:cNvPr>
            <p:cNvSpPr>
              <a:spLocks/>
            </p:cNvSpPr>
            <p:nvPr/>
          </p:nvSpPr>
          <p:spPr bwMode="auto">
            <a:xfrm>
              <a:off x="-668338" y="3119438"/>
              <a:ext cx="104775" cy="109538"/>
            </a:xfrm>
            <a:custGeom>
              <a:avLst/>
              <a:gdLst>
                <a:gd name="T0" fmla="*/ 267 w 534"/>
                <a:gd name="T1" fmla="*/ 0 h 481"/>
                <a:gd name="T2" fmla="*/ 310 w 534"/>
                <a:gd name="T3" fmla="*/ 4 h 481"/>
                <a:gd name="T4" fmla="*/ 351 w 534"/>
                <a:gd name="T5" fmla="*/ 13 h 481"/>
                <a:gd name="T6" fmla="*/ 390 w 534"/>
                <a:gd name="T7" fmla="*/ 28 h 481"/>
                <a:gd name="T8" fmla="*/ 424 w 534"/>
                <a:gd name="T9" fmla="*/ 48 h 481"/>
                <a:gd name="T10" fmla="*/ 456 w 534"/>
                <a:gd name="T11" fmla="*/ 71 h 481"/>
                <a:gd name="T12" fmla="*/ 483 w 534"/>
                <a:gd name="T13" fmla="*/ 99 h 481"/>
                <a:gd name="T14" fmla="*/ 504 w 534"/>
                <a:gd name="T15" fmla="*/ 130 h 481"/>
                <a:gd name="T16" fmla="*/ 521 w 534"/>
                <a:gd name="T17" fmla="*/ 165 h 481"/>
                <a:gd name="T18" fmla="*/ 531 w 534"/>
                <a:gd name="T19" fmla="*/ 202 h 481"/>
                <a:gd name="T20" fmla="*/ 534 w 534"/>
                <a:gd name="T21" fmla="*/ 241 h 481"/>
                <a:gd name="T22" fmla="*/ 531 w 534"/>
                <a:gd name="T23" fmla="*/ 280 h 481"/>
                <a:gd name="T24" fmla="*/ 521 w 534"/>
                <a:gd name="T25" fmla="*/ 316 h 481"/>
                <a:gd name="T26" fmla="*/ 504 w 534"/>
                <a:gd name="T27" fmla="*/ 350 h 481"/>
                <a:gd name="T28" fmla="*/ 483 w 534"/>
                <a:gd name="T29" fmla="*/ 382 h 481"/>
                <a:gd name="T30" fmla="*/ 456 w 534"/>
                <a:gd name="T31" fmla="*/ 411 h 481"/>
                <a:gd name="T32" fmla="*/ 424 w 534"/>
                <a:gd name="T33" fmla="*/ 434 h 481"/>
                <a:gd name="T34" fmla="*/ 390 w 534"/>
                <a:gd name="T35" fmla="*/ 454 h 481"/>
                <a:gd name="T36" fmla="*/ 351 w 534"/>
                <a:gd name="T37" fmla="*/ 468 h 481"/>
                <a:gd name="T38" fmla="*/ 310 w 534"/>
                <a:gd name="T39" fmla="*/ 477 h 481"/>
                <a:gd name="T40" fmla="*/ 267 w 534"/>
                <a:gd name="T41" fmla="*/ 481 h 481"/>
                <a:gd name="T42" fmla="*/ 224 w 534"/>
                <a:gd name="T43" fmla="*/ 477 h 481"/>
                <a:gd name="T44" fmla="*/ 182 w 534"/>
                <a:gd name="T45" fmla="*/ 468 h 481"/>
                <a:gd name="T46" fmla="*/ 144 w 534"/>
                <a:gd name="T47" fmla="*/ 454 h 481"/>
                <a:gd name="T48" fmla="*/ 110 w 534"/>
                <a:gd name="T49" fmla="*/ 434 h 481"/>
                <a:gd name="T50" fmla="*/ 78 w 534"/>
                <a:gd name="T51" fmla="*/ 411 h 481"/>
                <a:gd name="T52" fmla="*/ 51 w 534"/>
                <a:gd name="T53" fmla="*/ 382 h 481"/>
                <a:gd name="T54" fmla="*/ 30 w 534"/>
                <a:gd name="T55" fmla="*/ 350 h 481"/>
                <a:gd name="T56" fmla="*/ 13 w 534"/>
                <a:gd name="T57" fmla="*/ 316 h 481"/>
                <a:gd name="T58" fmla="*/ 3 w 534"/>
                <a:gd name="T59" fmla="*/ 280 h 481"/>
                <a:gd name="T60" fmla="*/ 0 w 534"/>
                <a:gd name="T61" fmla="*/ 241 h 481"/>
                <a:gd name="T62" fmla="*/ 3 w 534"/>
                <a:gd name="T63" fmla="*/ 202 h 481"/>
                <a:gd name="T64" fmla="*/ 13 w 534"/>
                <a:gd name="T65" fmla="*/ 165 h 481"/>
                <a:gd name="T66" fmla="*/ 30 w 534"/>
                <a:gd name="T67" fmla="*/ 130 h 481"/>
                <a:gd name="T68" fmla="*/ 51 w 534"/>
                <a:gd name="T69" fmla="*/ 99 h 481"/>
                <a:gd name="T70" fmla="*/ 78 w 534"/>
                <a:gd name="T71" fmla="*/ 71 h 481"/>
                <a:gd name="T72" fmla="*/ 110 w 534"/>
                <a:gd name="T73" fmla="*/ 48 h 481"/>
                <a:gd name="T74" fmla="*/ 144 w 534"/>
                <a:gd name="T75" fmla="*/ 28 h 481"/>
                <a:gd name="T76" fmla="*/ 182 w 534"/>
                <a:gd name="T77" fmla="*/ 13 h 481"/>
                <a:gd name="T78" fmla="*/ 224 w 534"/>
                <a:gd name="T79" fmla="*/ 4 h 481"/>
                <a:gd name="T80" fmla="*/ 267 w 534"/>
                <a:gd name="T8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81">
                  <a:moveTo>
                    <a:pt x="267" y="0"/>
                  </a:moveTo>
                  <a:lnTo>
                    <a:pt x="310" y="4"/>
                  </a:lnTo>
                  <a:lnTo>
                    <a:pt x="351" y="13"/>
                  </a:lnTo>
                  <a:lnTo>
                    <a:pt x="390" y="28"/>
                  </a:lnTo>
                  <a:lnTo>
                    <a:pt x="424" y="48"/>
                  </a:lnTo>
                  <a:lnTo>
                    <a:pt x="456" y="71"/>
                  </a:lnTo>
                  <a:lnTo>
                    <a:pt x="483" y="99"/>
                  </a:lnTo>
                  <a:lnTo>
                    <a:pt x="504" y="130"/>
                  </a:lnTo>
                  <a:lnTo>
                    <a:pt x="521" y="165"/>
                  </a:lnTo>
                  <a:lnTo>
                    <a:pt x="531" y="202"/>
                  </a:lnTo>
                  <a:lnTo>
                    <a:pt x="534" y="241"/>
                  </a:lnTo>
                  <a:lnTo>
                    <a:pt x="531" y="280"/>
                  </a:lnTo>
                  <a:lnTo>
                    <a:pt x="521" y="316"/>
                  </a:lnTo>
                  <a:lnTo>
                    <a:pt x="504" y="350"/>
                  </a:lnTo>
                  <a:lnTo>
                    <a:pt x="483" y="382"/>
                  </a:lnTo>
                  <a:lnTo>
                    <a:pt x="456" y="411"/>
                  </a:lnTo>
                  <a:lnTo>
                    <a:pt x="424" y="434"/>
                  </a:lnTo>
                  <a:lnTo>
                    <a:pt x="390" y="454"/>
                  </a:lnTo>
                  <a:lnTo>
                    <a:pt x="351" y="468"/>
                  </a:lnTo>
                  <a:lnTo>
                    <a:pt x="310" y="477"/>
                  </a:lnTo>
                  <a:lnTo>
                    <a:pt x="267" y="481"/>
                  </a:lnTo>
                  <a:lnTo>
                    <a:pt x="224" y="477"/>
                  </a:lnTo>
                  <a:lnTo>
                    <a:pt x="182" y="468"/>
                  </a:lnTo>
                  <a:lnTo>
                    <a:pt x="144" y="454"/>
                  </a:lnTo>
                  <a:lnTo>
                    <a:pt x="110" y="434"/>
                  </a:lnTo>
                  <a:lnTo>
                    <a:pt x="78" y="411"/>
                  </a:lnTo>
                  <a:lnTo>
                    <a:pt x="51" y="382"/>
                  </a:lnTo>
                  <a:lnTo>
                    <a:pt x="30" y="350"/>
                  </a:lnTo>
                  <a:lnTo>
                    <a:pt x="13" y="316"/>
                  </a:lnTo>
                  <a:lnTo>
                    <a:pt x="3" y="280"/>
                  </a:lnTo>
                  <a:lnTo>
                    <a:pt x="0" y="241"/>
                  </a:lnTo>
                  <a:lnTo>
                    <a:pt x="3" y="202"/>
                  </a:lnTo>
                  <a:lnTo>
                    <a:pt x="13" y="165"/>
                  </a:lnTo>
                  <a:lnTo>
                    <a:pt x="30" y="130"/>
                  </a:lnTo>
                  <a:lnTo>
                    <a:pt x="51" y="99"/>
                  </a:lnTo>
                  <a:lnTo>
                    <a:pt x="78" y="71"/>
                  </a:lnTo>
                  <a:lnTo>
                    <a:pt x="110" y="48"/>
                  </a:lnTo>
                  <a:lnTo>
                    <a:pt x="144" y="28"/>
                  </a:lnTo>
                  <a:lnTo>
                    <a:pt x="182" y="13"/>
                  </a:lnTo>
                  <a:lnTo>
                    <a:pt x="224" y="4"/>
                  </a:lnTo>
                  <a:lnTo>
                    <a:pt x="2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0">
              <a:extLst>
                <a:ext uri="{FF2B5EF4-FFF2-40B4-BE49-F238E27FC236}">
                  <a16:creationId xmlns:a16="http://schemas.microsoft.com/office/drawing/2014/main" id="{C6D75E38-150B-AC89-3FB9-E57BBEA21F56}"/>
                </a:ext>
              </a:extLst>
            </p:cNvPr>
            <p:cNvSpPr>
              <a:spLocks/>
            </p:cNvSpPr>
            <p:nvPr/>
          </p:nvSpPr>
          <p:spPr bwMode="auto">
            <a:xfrm>
              <a:off x="-1077913" y="2700338"/>
              <a:ext cx="106362" cy="109538"/>
            </a:xfrm>
            <a:custGeom>
              <a:avLst/>
              <a:gdLst>
                <a:gd name="T0" fmla="*/ 266 w 534"/>
                <a:gd name="T1" fmla="*/ 0 h 480"/>
                <a:gd name="T2" fmla="*/ 310 w 534"/>
                <a:gd name="T3" fmla="*/ 3 h 480"/>
                <a:gd name="T4" fmla="*/ 351 w 534"/>
                <a:gd name="T5" fmla="*/ 12 h 480"/>
                <a:gd name="T6" fmla="*/ 390 w 534"/>
                <a:gd name="T7" fmla="*/ 28 h 480"/>
                <a:gd name="T8" fmla="*/ 424 w 534"/>
                <a:gd name="T9" fmla="*/ 47 h 480"/>
                <a:gd name="T10" fmla="*/ 456 w 534"/>
                <a:gd name="T11" fmla="*/ 71 h 480"/>
                <a:gd name="T12" fmla="*/ 483 w 534"/>
                <a:gd name="T13" fmla="*/ 99 h 480"/>
                <a:gd name="T14" fmla="*/ 504 w 534"/>
                <a:gd name="T15" fmla="*/ 130 h 480"/>
                <a:gd name="T16" fmla="*/ 521 w 534"/>
                <a:gd name="T17" fmla="*/ 165 h 480"/>
                <a:gd name="T18" fmla="*/ 531 w 534"/>
                <a:gd name="T19" fmla="*/ 201 h 480"/>
                <a:gd name="T20" fmla="*/ 534 w 534"/>
                <a:gd name="T21" fmla="*/ 241 h 480"/>
                <a:gd name="T22" fmla="*/ 531 w 534"/>
                <a:gd name="T23" fmla="*/ 280 h 480"/>
                <a:gd name="T24" fmla="*/ 521 w 534"/>
                <a:gd name="T25" fmla="*/ 316 h 480"/>
                <a:gd name="T26" fmla="*/ 504 w 534"/>
                <a:gd name="T27" fmla="*/ 351 h 480"/>
                <a:gd name="T28" fmla="*/ 483 w 534"/>
                <a:gd name="T29" fmla="*/ 382 h 480"/>
                <a:gd name="T30" fmla="*/ 456 w 534"/>
                <a:gd name="T31" fmla="*/ 411 h 480"/>
                <a:gd name="T32" fmla="*/ 424 w 534"/>
                <a:gd name="T33" fmla="*/ 434 h 480"/>
                <a:gd name="T34" fmla="*/ 390 w 534"/>
                <a:gd name="T35" fmla="*/ 454 h 480"/>
                <a:gd name="T36" fmla="*/ 351 w 534"/>
                <a:gd name="T37" fmla="*/ 468 h 480"/>
                <a:gd name="T38" fmla="*/ 310 w 534"/>
                <a:gd name="T39" fmla="*/ 477 h 480"/>
                <a:gd name="T40" fmla="*/ 266 w 534"/>
                <a:gd name="T41" fmla="*/ 480 h 480"/>
                <a:gd name="T42" fmla="*/ 224 w 534"/>
                <a:gd name="T43" fmla="*/ 477 h 480"/>
                <a:gd name="T44" fmla="*/ 182 w 534"/>
                <a:gd name="T45" fmla="*/ 468 h 480"/>
                <a:gd name="T46" fmla="*/ 144 w 534"/>
                <a:gd name="T47" fmla="*/ 454 h 480"/>
                <a:gd name="T48" fmla="*/ 109 w 534"/>
                <a:gd name="T49" fmla="*/ 434 h 480"/>
                <a:gd name="T50" fmla="*/ 78 w 534"/>
                <a:gd name="T51" fmla="*/ 411 h 480"/>
                <a:gd name="T52" fmla="*/ 51 w 534"/>
                <a:gd name="T53" fmla="*/ 382 h 480"/>
                <a:gd name="T54" fmla="*/ 29 w 534"/>
                <a:gd name="T55" fmla="*/ 351 h 480"/>
                <a:gd name="T56" fmla="*/ 13 w 534"/>
                <a:gd name="T57" fmla="*/ 316 h 480"/>
                <a:gd name="T58" fmla="*/ 3 w 534"/>
                <a:gd name="T59" fmla="*/ 280 h 480"/>
                <a:gd name="T60" fmla="*/ 0 w 534"/>
                <a:gd name="T61" fmla="*/ 241 h 480"/>
                <a:gd name="T62" fmla="*/ 3 w 534"/>
                <a:gd name="T63" fmla="*/ 201 h 480"/>
                <a:gd name="T64" fmla="*/ 13 w 534"/>
                <a:gd name="T65" fmla="*/ 165 h 480"/>
                <a:gd name="T66" fmla="*/ 29 w 534"/>
                <a:gd name="T67" fmla="*/ 130 h 480"/>
                <a:gd name="T68" fmla="*/ 51 w 534"/>
                <a:gd name="T69" fmla="*/ 99 h 480"/>
                <a:gd name="T70" fmla="*/ 78 w 534"/>
                <a:gd name="T71" fmla="*/ 71 h 480"/>
                <a:gd name="T72" fmla="*/ 109 w 534"/>
                <a:gd name="T73" fmla="*/ 47 h 480"/>
                <a:gd name="T74" fmla="*/ 144 w 534"/>
                <a:gd name="T75" fmla="*/ 28 h 480"/>
                <a:gd name="T76" fmla="*/ 182 w 534"/>
                <a:gd name="T77" fmla="*/ 12 h 480"/>
                <a:gd name="T78" fmla="*/ 224 w 534"/>
                <a:gd name="T79" fmla="*/ 3 h 480"/>
                <a:gd name="T80" fmla="*/ 266 w 534"/>
                <a:gd name="T8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80">
                  <a:moveTo>
                    <a:pt x="266" y="0"/>
                  </a:moveTo>
                  <a:lnTo>
                    <a:pt x="310" y="3"/>
                  </a:lnTo>
                  <a:lnTo>
                    <a:pt x="351" y="12"/>
                  </a:lnTo>
                  <a:lnTo>
                    <a:pt x="390" y="28"/>
                  </a:lnTo>
                  <a:lnTo>
                    <a:pt x="424" y="47"/>
                  </a:lnTo>
                  <a:lnTo>
                    <a:pt x="456" y="71"/>
                  </a:lnTo>
                  <a:lnTo>
                    <a:pt x="483" y="99"/>
                  </a:lnTo>
                  <a:lnTo>
                    <a:pt x="504" y="130"/>
                  </a:lnTo>
                  <a:lnTo>
                    <a:pt x="521" y="165"/>
                  </a:lnTo>
                  <a:lnTo>
                    <a:pt x="531" y="201"/>
                  </a:lnTo>
                  <a:lnTo>
                    <a:pt x="534" y="241"/>
                  </a:lnTo>
                  <a:lnTo>
                    <a:pt x="531" y="280"/>
                  </a:lnTo>
                  <a:lnTo>
                    <a:pt x="521" y="316"/>
                  </a:lnTo>
                  <a:lnTo>
                    <a:pt x="504" y="351"/>
                  </a:lnTo>
                  <a:lnTo>
                    <a:pt x="483" y="382"/>
                  </a:lnTo>
                  <a:lnTo>
                    <a:pt x="456" y="411"/>
                  </a:lnTo>
                  <a:lnTo>
                    <a:pt x="424" y="434"/>
                  </a:lnTo>
                  <a:lnTo>
                    <a:pt x="390" y="454"/>
                  </a:lnTo>
                  <a:lnTo>
                    <a:pt x="351" y="468"/>
                  </a:lnTo>
                  <a:lnTo>
                    <a:pt x="310" y="477"/>
                  </a:lnTo>
                  <a:lnTo>
                    <a:pt x="266" y="480"/>
                  </a:lnTo>
                  <a:lnTo>
                    <a:pt x="224" y="477"/>
                  </a:lnTo>
                  <a:lnTo>
                    <a:pt x="182" y="468"/>
                  </a:lnTo>
                  <a:lnTo>
                    <a:pt x="144" y="454"/>
                  </a:lnTo>
                  <a:lnTo>
                    <a:pt x="109" y="434"/>
                  </a:lnTo>
                  <a:lnTo>
                    <a:pt x="78" y="411"/>
                  </a:lnTo>
                  <a:lnTo>
                    <a:pt x="51" y="382"/>
                  </a:lnTo>
                  <a:lnTo>
                    <a:pt x="29" y="351"/>
                  </a:lnTo>
                  <a:lnTo>
                    <a:pt x="13" y="316"/>
                  </a:lnTo>
                  <a:lnTo>
                    <a:pt x="3" y="280"/>
                  </a:lnTo>
                  <a:lnTo>
                    <a:pt x="0" y="241"/>
                  </a:lnTo>
                  <a:lnTo>
                    <a:pt x="3" y="201"/>
                  </a:lnTo>
                  <a:lnTo>
                    <a:pt x="13" y="165"/>
                  </a:lnTo>
                  <a:lnTo>
                    <a:pt x="29" y="130"/>
                  </a:lnTo>
                  <a:lnTo>
                    <a:pt x="51" y="99"/>
                  </a:lnTo>
                  <a:lnTo>
                    <a:pt x="78" y="71"/>
                  </a:lnTo>
                  <a:lnTo>
                    <a:pt x="109" y="47"/>
                  </a:lnTo>
                  <a:lnTo>
                    <a:pt x="144" y="28"/>
                  </a:lnTo>
                  <a:lnTo>
                    <a:pt x="182" y="12"/>
                  </a:lnTo>
                  <a:lnTo>
                    <a:pt x="224" y="3"/>
                  </a:lnTo>
                  <a:lnTo>
                    <a:pt x="2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sp>
        <p:nvSpPr>
          <p:cNvPr id="26" name="Freeform 102">
            <a:extLst>
              <a:ext uri="{FF2B5EF4-FFF2-40B4-BE49-F238E27FC236}">
                <a16:creationId xmlns:a16="http://schemas.microsoft.com/office/drawing/2014/main" id="{48D5CF13-E924-FA10-A7C2-CC86ECBD599D}"/>
              </a:ext>
            </a:extLst>
          </p:cNvPr>
          <p:cNvSpPr>
            <a:spLocks noEditPoints="1"/>
          </p:cNvSpPr>
          <p:nvPr/>
        </p:nvSpPr>
        <p:spPr bwMode="auto">
          <a:xfrm>
            <a:off x="7067691" y="4154357"/>
            <a:ext cx="493383" cy="554960"/>
          </a:xfrm>
          <a:custGeom>
            <a:avLst/>
            <a:gdLst>
              <a:gd name="T0" fmla="*/ 2363 w 3010"/>
              <a:gd name="T1" fmla="*/ 2515 h 3384"/>
              <a:gd name="T2" fmla="*/ 2175 w 3010"/>
              <a:gd name="T3" fmla="*/ 2631 h 3384"/>
              <a:gd name="T4" fmla="*/ 2182 w 3010"/>
              <a:gd name="T5" fmla="*/ 2426 h 3384"/>
              <a:gd name="T6" fmla="*/ 234 w 3010"/>
              <a:gd name="T7" fmla="*/ 2589 h 3384"/>
              <a:gd name="T8" fmla="*/ 25 w 3010"/>
              <a:gd name="T9" fmla="*/ 2544 h 3384"/>
              <a:gd name="T10" fmla="*/ 224 w 3010"/>
              <a:gd name="T11" fmla="*/ 2426 h 3384"/>
              <a:gd name="T12" fmla="*/ 2005 w 3010"/>
              <a:gd name="T13" fmla="*/ 2408 h 3384"/>
              <a:gd name="T14" fmla="*/ 2101 w 3010"/>
              <a:gd name="T15" fmla="*/ 3201 h 3384"/>
              <a:gd name="T16" fmla="*/ 1686 w 3010"/>
              <a:gd name="T17" fmla="*/ 2329 h 3384"/>
              <a:gd name="T18" fmla="*/ 721 w 3010"/>
              <a:gd name="T19" fmla="*/ 2330 h 3384"/>
              <a:gd name="T20" fmla="*/ 306 w 3010"/>
              <a:gd name="T21" fmla="*/ 3201 h 3384"/>
              <a:gd name="T22" fmla="*/ 401 w 3010"/>
              <a:gd name="T23" fmla="*/ 2408 h 3384"/>
              <a:gd name="T24" fmla="*/ 1203 w 3010"/>
              <a:gd name="T25" fmla="*/ 2109 h 3384"/>
              <a:gd name="T26" fmla="*/ 1535 w 3010"/>
              <a:gd name="T27" fmla="*/ 2244 h 3384"/>
              <a:gd name="T28" fmla="*/ 1674 w 3010"/>
              <a:gd name="T29" fmla="*/ 2569 h 3384"/>
              <a:gd name="T30" fmla="*/ 781 w 3010"/>
              <a:gd name="T31" fmla="*/ 2367 h 3384"/>
              <a:gd name="T32" fmla="*/ 1045 w 3010"/>
              <a:gd name="T33" fmla="*/ 2136 h 3384"/>
              <a:gd name="T34" fmla="*/ 2258 w 3010"/>
              <a:gd name="T35" fmla="*/ 2107 h 3384"/>
              <a:gd name="T36" fmla="*/ 2307 w 3010"/>
              <a:gd name="T37" fmla="*/ 2269 h 3384"/>
              <a:gd name="T38" fmla="*/ 2155 w 3010"/>
              <a:gd name="T39" fmla="*/ 2348 h 3384"/>
              <a:gd name="T40" fmla="*/ 2045 w 3010"/>
              <a:gd name="T41" fmla="*/ 2217 h 3384"/>
              <a:gd name="T42" fmla="*/ 2155 w 3010"/>
              <a:gd name="T43" fmla="*/ 2087 h 3384"/>
              <a:gd name="T44" fmla="*/ 337 w 3010"/>
              <a:gd name="T45" fmla="*/ 2143 h 3384"/>
              <a:gd name="T46" fmla="*/ 320 w 3010"/>
              <a:gd name="T47" fmla="*/ 2311 h 3384"/>
              <a:gd name="T48" fmla="*/ 149 w 3010"/>
              <a:gd name="T49" fmla="*/ 2328 h 3384"/>
              <a:gd name="T50" fmla="*/ 100 w 3010"/>
              <a:gd name="T51" fmla="*/ 2166 h 3384"/>
              <a:gd name="T52" fmla="*/ 1776 w 3010"/>
              <a:gd name="T53" fmla="*/ 1842 h 3384"/>
              <a:gd name="T54" fmla="*/ 1967 w 3010"/>
              <a:gd name="T55" fmla="*/ 1971 h 3384"/>
              <a:gd name="T56" fmla="*/ 1907 w 3010"/>
              <a:gd name="T57" fmla="*/ 2191 h 3384"/>
              <a:gd name="T58" fmla="*/ 1675 w 3010"/>
              <a:gd name="T59" fmla="*/ 2211 h 3384"/>
              <a:gd name="T60" fmla="*/ 1577 w 3010"/>
              <a:gd name="T61" fmla="*/ 2005 h 3384"/>
              <a:gd name="T62" fmla="*/ 1741 w 3010"/>
              <a:gd name="T63" fmla="*/ 1845 h 3384"/>
              <a:gd name="T64" fmla="*/ 785 w 3010"/>
              <a:gd name="T65" fmla="*/ 1912 h 3384"/>
              <a:gd name="T66" fmla="*/ 805 w 3010"/>
              <a:gd name="T67" fmla="*/ 2140 h 3384"/>
              <a:gd name="T68" fmla="*/ 593 w 3010"/>
              <a:gd name="T69" fmla="*/ 2235 h 3384"/>
              <a:gd name="T70" fmla="*/ 430 w 3010"/>
              <a:gd name="T71" fmla="*/ 2076 h 3384"/>
              <a:gd name="T72" fmla="*/ 528 w 3010"/>
              <a:gd name="T73" fmla="*/ 1869 h 3384"/>
              <a:gd name="T74" fmla="*/ 1329 w 3010"/>
              <a:gd name="T75" fmla="*/ 1474 h 3384"/>
              <a:gd name="T76" fmla="*/ 1499 w 3010"/>
              <a:gd name="T77" fmla="*/ 1696 h 3384"/>
              <a:gd name="T78" fmla="*/ 1400 w 3010"/>
              <a:gd name="T79" fmla="*/ 1960 h 3384"/>
              <a:gd name="T80" fmla="*/ 1116 w 3010"/>
              <a:gd name="T81" fmla="*/ 2020 h 3384"/>
              <a:gd name="T82" fmla="*/ 916 w 3010"/>
              <a:gd name="T83" fmla="*/ 1823 h 3384"/>
              <a:gd name="T84" fmla="*/ 977 w 3010"/>
              <a:gd name="T85" fmla="*/ 1547 h 3384"/>
              <a:gd name="T86" fmla="*/ 1484 w 3010"/>
              <a:gd name="T87" fmla="*/ 120 h 3384"/>
              <a:gd name="T88" fmla="*/ 1288 w 3010"/>
              <a:gd name="T89" fmla="*/ 236 h 3384"/>
              <a:gd name="T90" fmla="*/ 1288 w 3010"/>
              <a:gd name="T91" fmla="*/ 980 h 3384"/>
              <a:gd name="T92" fmla="*/ 1484 w 3010"/>
              <a:gd name="T93" fmla="*/ 1097 h 3384"/>
              <a:gd name="T94" fmla="*/ 2769 w 3010"/>
              <a:gd name="T95" fmla="*/ 1073 h 3384"/>
              <a:gd name="T96" fmla="*/ 2888 w 3010"/>
              <a:gd name="T97" fmla="*/ 882 h 3384"/>
              <a:gd name="T98" fmla="*/ 2797 w 3010"/>
              <a:gd name="T99" fmla="*/ 161 h 3384"/>
              <a:gd name="T100" fmla="*/ 2668 w 3010"/>
              <a:gd name="T101" fmla="*/ 0 h 3384"/>
              <a:gd name="T102" fmla="*/ 2939 w 3010"/>
              <a:gd name="T103" fmla="*/ 130 h 3384"/>
              <a:gd name="T104" fmla="*/ 3007 w 3010"/>
              <a:gd name="T105" fmla="*/ 928 h 3384"/>
              <a:gd name="T106" fmla="*/ 2840 w 3010"/>
              <a:gd name="T107" fmla="*/ 1170 h 3384"/>
              <a:gd name="T108" fmla="*/ 1604 w 3010"/>
              <a:gd name="T109" fmla="*/ 1216 h 3384"/>
              <a:gd name="T110" fmla="*/ 1242 w 3010"/>
              <a:gd name="T111" fmla="*/ 1118 h 3384"/>
              <a:gd name="T112" fmla="*/ 1143 w 3010"/>
              <a:gd name="T113" fmla="*/ 334 h 3384"/>
              <a:gd name="T114" fmla="*/ 1275 w 3010"/>
              <a:gd name="T115" fmla="*/ 70 h 3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10" h="3384">
                <a:moveTo>
                  <a:pt x="2182" y="2426"/>
                </a:moveTo>
                <a:lnTo>
                  <a:pt x="2218" y="2428"/>
                </a:lnTo>
                <a:lnTo>
                  <a:pt x="2253" y="2438"/>
                </a:lnTo>
                <a:lnTo>
                  <a:pt x="2285" y="2451"/>
                </a:lnTo>
                <a:lnTo>
                  <a:pt x="2315" y="2468"/>
                </a:lnTo>
                <a:lnTo>
                  <a:pt x="2340" y="2490"/>
                </a:lnTo>
                <a:lnTo>
                  <a:pt x="2363" y="2515"/>
                </a:lnTo>
                <a:lnTo>
                  <a:pt x="2381" y="2544"/>
                </a:lnTo>
                <a:lnTo>
                  <a:pt x="2394" y="2576"/>
                </a:lnTo>
                <a:lnTo>
                  <a:pt x="2403" y="2610"/>
                </a:lnTo>
                <a:lnTo>
                  <a:pt x="2406" y="2645"/>
                </a:lnTo>
                <a:lnTo>
                  <a:pt x="2406" y="3047"/>
                </a:lnTo>
                <a:lnTo>
                  <a:pt x="2175" y="3047"/>
                </a:lnTo>
                <a:lnTo>
                  <a:pt x="2175" y="2631"/>
                </a:lnTo>
                <a:lnTo>
                  <a:pt x="2172" y="2589"/>
                </a:lnTo>
                <a:lnTo>
                  <a:pt x="2165" y="2548"/>
                </a:lnTo>
                <a:lnTo>
                  <a:pt x="2153" y="2509"/>
                </a:lnTo>
                <a:lnTo>
                  <a:pt x="2137" y="2471"/>
                </a:lnTo>
                <a:lnTo>
                  <a:pt x="2118" y="2435"/>
                </a:lnTo>
                <a:lnTo>
                  <a:pt x="2150" y="2428"/>
                </a:lnTo>
                <a:lnTo>
                  <a:pt x="2182" y="2426"/>
                </a:lnTo>
                <a:close/>
                <a:moveTo>
                  <a:pt x="224" y="2426"/>
                </a:moveTo>
                <a:lnTo>
                  <a:pt x="257" y="2428"/>
                </a:lnTo>
                <a:lnTo>
                  <a:pt x="287" y="2435"/>
                </a:lnTo>
                <a:lnTo>
                  <a:pt x="269" y="2471"/>
                </a:lnTo>
                <a:lnTo>
                  <a:pt x="253" y="2509"/>
                </a:lnTo>
                <a:lnTo>
                  <a:pt x="241" y="2548"/>
                </a:lnTo>
                <a:lnTo>
                  <a:pt x="234" y="2589"/>
                </a:lnTo>
                <a:lnTo>
                  <a:pt x="232" y="2631"/>
                </a:lnTo>
                <a:lnTo>
                  <a:pt x="232" y="3047"/>
                </a:lnTo>
                <a:lnTo>
                  <a:pt x="0" y="3047"/>
                </a:lnTo>
                <a:lnTo>
                  <a:pt x="0" y="2645"/>
                </a:lnTo>
                <a:lnTo>
                  <a:pt x="3" y="2610"/>
                </a:lnTo>
                <a:lnTo>
                  <a:pt x="11" y="2576"/>
                </a:lnTo>
                <a:lnTo>
                  <a:pt x="25" y="2544"/>
                </a:lnTo>
                <a:lnTo>
                  <a:pt x="44" y="2515"/>
                </a:lnTo>
                <a:lnTo>
                  <a:pt x="66" y="2490"/>
                </a:lnTo>
                <a:lnTo>
                  <a:pt x="92" y="2468"/>
                </a:lnTo>
                <a:lnTo>
                  <a:pt x="122" y="2450"/>
                </a:lnTo>
                <a:lnTo>
                  <a:pt x="154" y="2436"/>
                </a:lnTo>
                <a:lnTo>
                  <a:pt x="189" y="2428"/>
                </a:lnTo>
                <a:lnTo>
                  <a:pt x="224" y="2426"/>
                </a:lnTo>
                <a:close/>
                <a:moveTo>
                  <a:pt x="1776" y="2314"/>
                </a:moveTo>
                <a:lnTo>
                  <a:pt x="1820" y="2318"/>
                </a:lnTo>
                <a:lnTo>
                  <a:pt x="1862" y="2326"/>
                </a:lnTo>
                <a:lnTo>
                  <a:pt x="1902" y="2339"/>
                </a:lnTo>
                <a:lnTo>
                  <a:pt x="1940" y="2358"/>
                </a:lnTo>
                <a:lnTo>
                  <a:pt x="1975" y="2380"/>
                </a:lnTo>
                <a:lnTo>
                  <a:pt x="2005" y="2408"/>
                </a:lnTo>
                <a:lnTo>
                  <a:pt x="2032" y="2438"/>
                </a:lnTo>
                <a:lnTo>
                  <a:pt x="2055" y="2471"/>
                </a:lnTo>
                <a:lnTo>
                  <a:pt x="2074" y="2508"/>
                </a:lnTo>
                <a:lnTo>
                  <a:pt x="2089" y="2547"/>
                </a:lnTo>
                <a:lnTo>
                  <a:pt x="2097" y="2588"/>
                </a:lnTo>
                <a:lnTo>
                  <a:pt x="2101" y="2631"/>
                </a:lnTo>
                <a:lnTo>
                  <a:pt x="2101" y="3201"/>
                </a:lnTo>
                <a:lnTo>
                  <a:pt x="1747" y="3201"/>
                </a:lnTo>
                <a:lnTo>
                  <a:pt x="1747" y="2569"/>
                </a:lnTo>
                <a:lnTo>
                  <a:pt x="1744" y="2517"/>
                </a:lnTo>
                <a:lnTo>
                  <a:pt x="1735" y="2467"/>
                </a:lnTo>
                <a:lnTo>
                  <a:pt x="1723" y="2420"/>
                </a:lnTo>
                <a:lnTo>
                  <a:pt x="1706" y="2373"/>
                </a:lnTo>
                <a:lnTo>
                  <a:pt x="1686" y="2329"/>
                </a:lnTo>
                <a:lnTo>
                  <a:pt x="1714" y="2322"/>
                </a:lnTo>
                <a:lnTo>
                  <a:pt x="1745" y="2317"/>
                </a:lnTo>
                <a:lnTo>
                  <a:pt x="1776" y="2314"/>
                </a:lnTo>
                <a:close/>
                <a:moveTo>
                  <a:pt x="630" y="2314"/>
                </a:moveTo>
                <a:lnTo>
                  <a:pt x="661" y="2317"/>
                </a:lnTo>
                <a:lnTo>
                  <a:pt x="691" y="2322"/>
                </a:lnTo>
                <a:lnTo>
                  <a:pt x="721" y="2330"/>
                </a:lnTo>
                <a:lnTo>
                  <a:pt x="700" y="2374"/>
                </a:lnTo>
                <a:lnTo>
                  <a:pt x="682" y="2420"/>
                </a:lnTo>
                <a:lnTo>
                  <a:pt x="669" y="2468"/>
                </a:lnTo>
                <a:lnTo>
                  <a:pt x="661" y="2517"/>
                </a:lnTo>
                <a:lnTo>
                  <a:pt x="659" y="2569"/>
                </a:lnTo>
                <a:lnTo>
                  <a:pt x="659" y="3201"/>
                </a:lnTo>
                <a:lnTo>
                  <a:pt x="306" y="3201"/>
                </a:lnTo>
                <a:lnTo>
                  <a:pt x="306" y="2631"/>
                </a:lnTo>
                <a:lnTo>
                  <a:pt x="309" y="2588"/>
                </a:lnTo>
                <a:lnTo>
                  <a:pt x="318" y="2547"/>
                </a:lnTo>
                <a:lnTo>
                  <a:pt x="332" y="2508"/>
                </a:lnTo>
                <a:lnTo>
                  <a:pt x="350" y="2471"/>
                </a:lnTo>
                <a:lnTo>
                  <a:pt x="373" y="2438"/>
                </a:lnTo>
                <a:lnTo>
                  <a:pt x="401" y="2408"/>
                </a:lnTo>
                <a:lnTo>
                  <a:pt x="431" y="2380"/>
                </a:lnTo>
                <a:lnTo>
                  <a:pt x="466" y="2358"/>
                </a:lnTo>
                <a:lnTo>
                  <a:pt x="504" y="2339"/>
                </a:lnTo>
                <a:lnTo>
                  <a:pt x="543" y="2326"/>
                </a:lnTo>
                <a:lnTo>
                  <a:pt x="585" y="2318"/>
                </a:lnTo>
                <a:lnTo>
                  <a:pt x="630" y="2314"/>
                </a:lnTo>
                <a:close/>
                <a:moveTo>
                  <a:pt x="1203" y="2109"/>
                </a:moveTo>
                <a:lnTo>
                  <a:pt x="1258" y="2112"/>
                </a:lnTo>
                <a:lnTo>
                  <a:pt x="1310" y="2122"/>
                </a:lnTo>
                <a:lnTo>
                  <a:pt x="1362" y="2136"/>
                </a:lnTo>
                <a:lnTo>
                  <a:pt x="1410" y="2157"/>
                </a:lnTo>
                <a:lnTo>
                  <a:pt x="1455" y="2181"/>
                </a:lnTo>
                <a:lnTo>
                  <a:pt x="1497" y="2211"/>
                </a:lnTo>
                <a:lnTo>
                  <a:pt x="1535" y="2244"/>
                </a:lnTo>
                <a:lnTo>
                  <a:pt x="1570" y="2282"/>
                </a:lnTo>
                <a:lnTo>
                  <a:pt x="1600" y="2323"/>
                </a:lnTo>
                <a:lnTo>
                  <a:pt x="1625" y="2367"/>
                </a:lnTo>
                <a:lnTo>
                  <a:pt x="1646" y="2414"/>
                </a:lnTo>
                <a:lnTo>
                  <a:pt x="1661" y="2463"/>
                </a:lnTo>
                <a:lnTo>
                  <a:pt x="1670" y="2515"/>
                </a:lnTo>
                <a:lnTo>
                  <a:pt x="1674" y="2569"/>
                </a:lnTo>
                <a:lnTo>
                  <a:pt x="1674" y="3384"/>
                </a:lnTo>
                <a:lnTo>
                  <a:pt x="733" y="3384"/>
                </a:lnTo>
                <a:lnTo>
                  <a:pt x="733" y="2569"/>
                </a:lnTo>
                <a:lnTo>
                  <a:pt x="737" y="2515"/>
                </a:lnTo>
                <a:lnTo>
                  <a:pt x="746" y="2463"/>
                </a:lnTo>
                <a:lnTo>
                  <a:pt x="761" y="2414"/>
                </a:lnTo>
                <a:lnTo>
                  <a:pt x="781" y="2367"/>
                </a:lnTo>
                <a:lnTo>
                  <a:pt x="807" y="2323"/>
                </a:lnTo>
                <a:lnTo>
                  <a:pt x="836" y="2282"/>
                </a:lnTo>
                <a:lnTo>
                  <a:pt x="871" y="2244"/>
                </a:lnTo>
                <a:lnTo>
                  <a:pt x="910" y="2211"/>
                </a:lnTo>
                <a:lnTo>
                  <a:pt x="952" y="2181"/>
                </a:lnTo>
                <a:lnTo>
                  <a:pt x="997" y="2157"/>
                </a:lnTo>
                <a:lnTo>
                  <a:pt x="1045" y="2136"/>
                </a:lnTo>
                <a:lnTo>
                  <a:pt x="1095" y="2122"/>
                </a:lnTo>
                <a:lnTo>
                  <a:pt x="1149" y="2112"/>
                </a:lnTo>
                <a:lnTo>
                  <a:pt x="1203" y="2109"/>
                </a:lnTo>
                <a:close/>
                <a:moveTo>
                  <a:pt x="2182" y="2085"/>
                </a:moveTo>
                <a:lnTo>
                  <a:pt x="2210" y="2087"/>
                </a:lnTo>
                <a:lnTo>
                  <a:pt x="2235" y="2095"/>
                </a:lnTo>
                <a:lnTo>
                  <a:pt x="2258" y="2107"/>
                </a:lnTo>
                <a:lnTo>
                  <a:pt x="2278" y="2124"/>
                </a:lnTo>
                <a:lnTo>
                  <a:pt x="2295" y="2143"/>
                </a:lnTo>
                <a:lnTo>
                  <a:pt x="2307" y="2166"/>
                </a:lnTo>
                <a:lnTo>
                  <a:pt x="2315" y="2190"/>
                </a:lnTo>
                <a:lnTo>
                  <a:pt x="2318" y="2217"/>
                </a:lnTo>
                <a:lnTo>
                  <a:pt x="2315" y="2244"/>
                </a:lnTo>
                <a:lnTo>
                  <a:pt x="2307" y="2269"/>
                </a:lnTo>
                <a:lnTo>
                  <a:pt x="2295" y="2292"/>
                </a:lnTo>
                <a:lnTo>
                  <a:pt x="2278" y="2311"/>
                </a:lnTo>
                <a:lnTo>
                  <a:pt x="2258" y="2328"/>
                </a:lnTo>
                <a:lnTo>
                  <a:pt x="2235" y="2340"/>
                </a:lnTo>
                <a:lnTo>
                  <a:pt x="2210" y="2348"/>
                </a:lnTo>
                <a:lnTo>
                  <a:pt x="2182" y="2350"/>
                </a:lnTo>
                <a:lnTo>
                  <a:pt x="2155" y="2348"/>
                </a:lnTo>
                <a:lnTo>
                  <a:pt x="2129" y="2340"/>
                </a:lnTo>
                <a:lnTo>
                  <a:pt x="2106" y="2328"/>
                </a:lnTo>
                <a:lnTo>
                  <a:pt x="2086" y="2311"/>
                </a:lnTo>
                <a:lnTo>
                  <a:pt x="2069" y="2292"/>
                </a:lnTo>
                <a:lnTo>
                  <a:pt x="2056" y="2269"/>
                </a:lnTo>
                <a:lnTo>
                  <a:pt x="2048" y="2244"/>
                </a:lnTo>
                <a:lnTo>
                  <a:pt x="2045" y="2217"/>
                </a:lnTo>
                <a:lnTo>
                  <a:pt x="2048" y="2190"/>
                </a:lnTo>
                <a:lnTo>
                  <a:pt x="2056" y="2166"/>
                </a:lnTo>
                <a:lnTo>
                  <a:pt x="2069" y="2143"/>
                </a:lnTo>
                <a:lnTo>
                  <a:pt x="2086" y="2124"/>
                </a:lnTo>
                <a:lnTo>
                  <a:pt x="2106" y="2107"/>
                </a:lnTo>
                <a:lnTo>
                  <a:pt x="2129" y="2095"/>
                </a:lnTo>
                <a:lnTo>
                  <a:pt x="2155" y="2087"/>
                </a:lnTo>
                <a:lnTo>
                  <a:pt x="2182" y="2085"/>
                </a:lnTo>
                <a:close/>
                <a:moveTo>
                  <a:pt x="224" y="2085"/>
                </a:moveTo>
                <a:lnTo>
                  <a:pt x="252" y="2087"/>
                </a:lnTo>
                <a:lnTo>
                  <a:pt x="277" y="2095"/>
                </a:lnTo>
                <a:lnTo>
                  <a:pt x="300" y="2107"/>
                </a:lnTo>
                <a:lnTo>
                  <a:pt x="320" y="2124"/>
                </a:lnTo>
                <a:lnTo>
                  <a:pt x="337" y="2143"/>
                </a:lnTo>
                <a:lnTo>
                  <a:pt x="349" y="2166"/>
                </a:lnTo>
                <a:lnTo>
                  <a:pt x="358" y="2190"/>
                </a:lnTo>
                <a:lnTo>
                  <a:pt x="360" y="2217"/>
                </a:lnTo>
                <a:lnTo>
                  <a:pt x="358" y="2244"/>
                </a:lnTo>
                <a:lnTo>
                  <a:pt x="349" y="2269"/>
                </a:lnTo>
                <a:lnTo>
                  <a:pt x="337" y="2292"/>
                </a:lnTo>
                <a:lnTo>
                  <a:pt x="320" y="2311"/>
                </a:lnTo>
                <a:lnTo>
                  <a:pt x="300" y="2328"/>
                </a:lnTo>
                <a:lnTo>
                  <a:pt x="277" y="2340"/>
                </a:lnTo>
                <a:lnTo>
                  <a:pt x="252" y="2348"/>
                </a:lnTo>
                <a:lnTo>
                  <a:pt x="224" y="2350"/>
                </a:lnTo>
                <a:lnTo>
                  <a:pt x="197" y="2348"/>
                </a:lnTo>
                <a:lnTo>
                  <a:pt x="172" y="2340"/>
                </a:lnTo>
                <a:lnTo>
                  <a:pt x="149" y="2328"/>
                </a:lnTo>
                <a:lnTo>
                  <a:pt x="128" y="2311"/>
                </a:lnTo>
                <a:lnTo>
                  <a:pt x="112" y="2292"/>
                </a:lnTo>
                <a:lnTo>
                  <a:pt x="100" y="2269"/>
                </a:lnTo>
                <a:lnTo>
                  <a:pt x="91" y="2244"/>
                </a:lnTo>
                <a:lnTo>
                  <a:pt x="88" y="2217"/>
                </a:lnTo>
                <a:lnTo>
                  <a:pt x="91" y="2190"/>
                </a:lnTo>
                <a:lnTo>
                  <a:pt x="100" y="2166"/>
                </a:lnTo>
                <a:lnTo>
                  <a:pt x="112" y="2143"/>
                </a:lnTo>
                <a:lnTo>
                  <a:pt x="128" y="2124"/>
                </a:lnTo>
                <a:lnTo>
                  <a:pt x="149" y="2107"/>
                </a:lnTo>
                <a:lnTo>
                  <a:pt x="172" y="2095"/>
                </a:lnTo>
                <a:lnTo>
                  <a:pt x="197" y="2087"/>
                </a:lnTo>
                <a:lnTo>
                  <a:pt x="224" y="2085"/>
                </a:lnTo>
                <a:close/>
                <a:moveTo>
                  <a:pt x="1776" y="1842"/>
                </a:moveTo>
                <a:lnTo>
                  <a:pt x="1813" y="1845"/>
                </a:lnTo>
                <a:lnTo>
                  <a:pt x="1848" y="1854"/>
                </a:lnTo>
                <a:lnTo>
                  <a:pt x="1879" y="1869"/>
                </a:lnTo>
                <a:lnTo>
                  <a:pt x="1907" y="1889"/>
                </a:lnTo>
                <a:lnTo>
                  <a:pt x="1932" y="1912"/>
                </a:lnTo>
                <a:lnTo>
                  <a:pt x="1952" y="1940"/>
                </a:lnTo>
                <a:lnTo>
                  <a:pt x="1967" y="1971"/>
                </a:lnTo>
                <a:lnTo>
                  <a:pt x="1977" y="2005"/>
                </a:lnTo>
                <a:lnTo>
                  <a:pt x="1980" y="2040"/>
                </a:lnTo>
                <a:lnTo>
                  <a:pt x="1977" y="2076"/>
                </a:lnTo>
                <a:lnTo>
                  <a:pt x="1967" y="2109"/>
                </a:lnTo>
                <a:lnTo>
                  <a:pt x="1952" y="2140"/>
                </a:lnTo>
                <a:lnTo>
                  <a:pt x="1932" y="2168"/>
                </a:lnTo>
                <a:lnTo>
                  <a:pt x="1907" y="2191"/>
                </a:lnTo>
                <a:lnTo>
                  <a:pt x="1879" y="2211"/>
                </a:lnTo>
                <a:lnTo>
                  <a:pt x="1848" y="2226"/>
                </a:lnTo>
                <a:lnTo>
                  <a:pt x="1813" y="2235"/>
                </a:lnTo>
                <a:lnTo>
                  <a:pt x="1776" y="2239"/>
                </a:lnTo>
                <a:lnTo>
                  <a:pt x="1741" y="2235"/>
                </a:lnTo>
                <a:lnTo>
                  <a:pt x="1706" y="2226"/>
                </a:lnTo>
                <a:lnTo>
                  <a:pt x="1675" y="2211"/>
                </a:lnTo>
                <a:lnTo>
                  <a:pt x="1646" y="2191"/>
                </a:lnTo>
                <a:lnTo>
                  <a:pt x="1622" y="2168"/>
                </a:lnTo>
                <a:lnTo>
                  <a:pt x="1602" y="2140"/>
                </a:lnTo>
                <a:lnTo>
                  <a:pt x="1586" y="2109"/>
                </a:lnTo>
                <a:lnTo>
                  <a:pt x="1577" y="2076"/>
                </a:lnTo>
                <a:lnTo>
                  <a:pt x="1574" y="2040"/>
                </a:lnTo>
                <a:lnTo>
                  <a:pt x="1577" y="2005"/>
                </a:lnTo>
                <a:lnTo>
                  <a:pt x="1586" y="1971"/>
                </a:lnTo>
                <a:lnTo>
                  <a:pt x="1602" y="1940"/>
                </a:lnTo>
                <a:lnTo>
                  <a:pt x="1622" y="1912"/>
                </a:lnTo>
                <a:lnTo>
                  <a:pt x="1646" y="1889"/>
                </a:lnTo>
                <a:lnTo>
                  <a:pt x="1675" y="1869"/>
                </a:lnTo>
                <a:lnTo>
                  <a:pt x="1706" y="1854"/>
                </a:lnTo>
                <a:lnTo>
                  <a:pt x="1741" y="1845"/>
                </a:lnTo>
                <a:lnTo>
                  <a:pt x="1776" y="1842"/>
                </a:lnTo>
                <a:close/>
                <a:moveTo>
                  <a:pt x="630" y="1842"/>
                </a:moveTo>
                <a:lnTo>
                  <a:pt x="666" y="1845"/>
                </a:lnTo>
                <a:lnTo>
                  <a:pt x="700" y="1854"/>
                </a:lnTo>
                <a:lnTo>
                  <a:pt x="731" y="1869"/>
                </a:lnTo>
                <a:lnTo>
                  <a:pt x="760" y="1889"/>
                </a:lnTo>
                <a:lnTo>
                  <a:pt x="785" y="1912"/>
                </a:lnTo>
                <a:lnTo>
                  <a:pt x="805" y="1940"/>
                </a:lnTo>
                <a:lnTo>
                  <a:pt x="819" y="1971"/>
                </a:lnTo>
                <a:lnTo>
                  <a:pt x="829" y="2005"/>
                </a:lnTo>
                <a:lnTo>
                  <a:pt x="832" y="2040"/>
                </a:lnTo>
                <a:lnTo>
                  <a:pt x="829" y="2076"/>
                </a:lnTo>
                <a:lnTo>
                  <a:pt x="819" y="2109"/>
                </a:lnTo>
                <a:lnTo>
                  <a:pt x="805" y="2140"/>
                </a:lnTo>
                <a:lnTo>
                  <a:pt x="785" y="2168"/>
                </a:lnTo>
                <a:lnTo>
                  <a:pt x="760" y="2191"/>
                </a:lnTo>
                <a:lnTo>
                  <a:pt x="731" y="2211"/>
                </a:lnTo>
                <a:lnTo>
                  <a:pt x="700" y="2226"/>
                </a:lnTo>
                <a:lnTo>
                  <a:pt x="666" y="2235"/>
                </a:lnTo>
                <a:lnTo>
                  <a:pt x="630" y="2239"/>
                </a:lnTo>
                <a:lnTo>
                  <a:pt x="593" y="2235"/>
                </a:lnTo>
                <a:lnTo>
                  <a:pt x="559" y="2226"/>
                </a:lnTo>
                <a:lnTo>
                  <a:pt x="528" y="2211"/>
                </a:lnTo>
                <a:lnTo>
                  <a:pt x="499" y="2191"/>
                </a:lnTo>
                <a:lnTo>
                  <a:pt x="474" y="2168"/>
                </a:lnTo>
                <a:lnTo>
                  <a:pt x="454" y="2140"/>
                </a:lnTo>
                <a:lnTo>
                  <a:pt x="440" y="2109"/>
                </a:lnTo>
                <a:lnTo>
                  <a:pt x="430" y="2076"/>
                </a:lnTo>
                <a:lnTo>
                  <a:pt x="427" y="2040"/>
                </a:lnTo>
                <a:lnTo>
                  <a:pt x="430" y="2005"/>
                </a:lnTo>
                <a:lnTo>
                  <a:pt x="440" y="1971"/>
                </a:lnTo>
                <a:lnTo>
                  <a:pt x="454" y="1940"/>
                </a:lnTo>
                <a:lnTo>
                  <a:pt x="474" y="1912"/>
                </a:lnTo>
                <a:lnTo>
                  <a:pt x="499" y="1889"/>
                </a:lnTo>
                <a:lnTo>
                  <a:pt x="528" y="1869"/>
                </a:lnTo>
                <a:lnTo>
                  <a:pt x="559" y="1854"/>
                </a:lnTo>
                <a:lnTo>
                  <a:pt x="593" y="1845"/>
                </a:lnTo>
                <a:lnTo>
                  <a:pt x="630" y="1842"/>
                </a:lnTo>
                <a:close/>
                <a:moveTo>
                  <a:pt x="1203" y="1446"/>
                </a:moveTo>
                <a:lnTo>
                  <a:pt x="1248" y="1450"/>
                </a:lnTo>
                <a:lnTo>
                  <a:pt x="1289" y="1459"/>
                </a:lnTo>
                <a:lnTo>
                  <a:pt x="1329" y="1474"/>
                </a:lnTo>
                <a:lnTo>
                  <a:pt x="1366" y="1493"/>
                </a:lnTo>
                <a:lnTo>
                  <a:pt x="1400" y="1519"/>
                </a:lnTo>
                <a:lnTo>
                  <a:pt x="1429" y="1547"/>
                </a:lnTo>
                <a:lnTo>
                  <a:pt x="1454" y="1580"/>
                </a:lnTo>
                <a:lnTo>
                  <a:pt x="1475" y="1616"/>
                </a:lnTo>
                <a:lnTo>
                  <a:pt x="1490" y="1655"/>
                </a:lnTo>
                <a:lnTo>
                  <a:pt x="1499" y="1696"/>
                </a:lnTo>
                <a:lnTo>
                  <a:pt x="1502" y="1739"/>
                </a:lnTo>
                <a:lnTo>
                  <a:pt x="1499" y="1782"/>
                </a:lnTo>
                <a:lnTo>
                  <a:pt x="1490" y="1823"/>
                </a:lnTo>
                <a:lnTo>
                  <a:pt x="1475" y="1862"/>
                </a:lnTo>
                <a:lnTo>
                  <a:pt x="1454" y="1898"/>
                </a:lnTo>
                <a:lnTo>
                  <a:pt x="1429" y="1931"/>
                </a:lnTo>
                <a:lnTo>
                  <a:pt x="1400" y="1960"/>
                </a:lnTo>
                <a:lnTo>
                  <a:pt x="1366" y="1985"/>
                </a:lnTo>
                <a:lnTo>
                  <a:pt x="1329" y="2005"/>
                </a:lnTo>
                <a:lnTo>
                  <a:pt x="1289" y="2020"/>
                </a:lnTo>
                <a:lnTo>
                  <a:pt x="1248" y="2029"/>
                </a:lnTo>
                <a:lnTo>
                  <a:pt x="1203" y="2032"/>
                </a:lnTo>
                <a:lnTo>
                  <a:pt x="1158" y="2029"/>
                </a:lnTo>
                <a:lnTo>
                  <a:pt x="1116" y="2020"/>
                </a:lnTo>
                <a:lnTo>
                  <a:pt x="1076" y="2005"/>
                </a:lnTo>
                <a:lnTo>
                  <a:pt x="1040" y="1985"/>
                </a:lnTo>
                <a:lnTo>
                  <a:pt x="1006" y="1960"/>
                </a:lnTo>
                <a:lnTo>
                  <a:pt x="977" y="1931"/>
                </a:lnTo>
                <a:lnTo>
                  <a:pt x="952" y="1898"/>
                </a:lnTo>
                <a:lnTo>
                  <a:pt x="932" y="1862"/>
                </a:lnTo>
                <a:lnTo>
                  <a:pt x="916" y="1823"/>
                </a:lnTo>
                <a:lnTo>
                  <a:pt x="907" y="1782"/>
                </a:lnTo>
                <a:lnTo>
                  <a:pt x="903" y="1739"/>
                </a:lnTo>
                <a:lnTo>
                  <a:pt x="907" y="1696"/>
                </a:lnTo>
                <a:lnTo>
                  <a:pt x="916" y="1655"/>
                </a:lnTo>
                <a:lnTo>
                  <a:pt x="932" y="1616"/>
                </a:lnTo>
                <a:lnTo>
                  <a:pt x="952" y="1580"/>
                </a:lnTo>
                <a:lnTo>
                  <a:pt x="977" y="1547"/>
                </a:lnTo>
                <a:lnTo>
                  <a:pt x="1006" y="1519"/>
                </a:lnTo>
                <a:lnTo>
                  <a:pt x="1040" y="1493"/>
                </a:lnTo>
                <a:lnTo>
                  <a:pt x="1076" y="1474"/>
                </a:lnTo>
                <a:lnTo>
                  <a:pt x="1116" y="1459"/>
                </a:lnTo>
                <a:lnTo>
                  <a:pt x="1158" y="1450"/>
                </a:lnTo>
                <a:lnTo>
                  <a:pt x="1203" y="1446"/>
                </a:lnTo>
                <a:close/>
                <a:moveTo>
                  <a:pt x="1484" y="120"/>
                </a:moveTo>
                <a:lnTo>
                  <a:pt x="1448" y="123"/>
                </a:lnTo>
                <a:lnTo>
                  <a:pt x="1414" y="131"/>
                </a:lnTo>
                <a:lnTo>
                  <a:pt x="1383" y="144"/>
                </a:lnTo>
                <a:lnTo>
                  <a:pt x="1355" y="161"/>
                </a:lnTo>
                <a:lnTo>
                  <a:pt x="1328" y="183"/>
                </a:lnTo>
                <a:lnTo>
                  <a:pt x="1306" y="208"/>
                </a:lnTo>
                <a:lnTo>
                  <a:pt x="1288" y="236"/>
                </a:lnTo>
                <a:lnTo>
                  <a:pt x="1275" y="267"/>
                </a:lnTo>
                <a:lnTo>
                  <a:pt x="1266" y="299"/>
                </a:lnTo>
                <a:lnTo>
                  <a:pt x="1264" y="334"/>
                </a:lnTo>
                <a:lnTo>
                  <a:pt x="1264" y="882"/>
                </a:lnTo>
                <a:lnTo>
                  <a:pt x="1266" y="917"/>
                </a:lnTo>
                <a:lnTo>
                  <a:pt x="1275" y="950"/>
                </a:lnTo>
                <a:lnTo>
                  <a:pt x="1288" y="980"/>
                </a:lnTo>
                <a:lnTo>
                  <a:pt x="1306" y="1009"/>
                </a:lnTo>
                <a:lnTo>
                  <a:pt x="1328" y="1034"/>
                </a:lnTo>
                <a:lnTo>
                  <a:pt x="1355" y="1055"/>
                </a:lnTo>
                <a:lnTo>
                  <a:pt x="1383" y="1073"/>
                </a:lnTo>
                <a:lnTo>
                  <a:pt x="1414" y="1086"/>
                </a:lnTo>
                <a:lnTo>
                  <a:pt x="1448" y="1094"/>
                </a:lnTo>
                <a:lnTo>
                  <a:pt x="1484" y="1097"/>
                </a:lnTo>
                <a:lnTo>
                  <a:pt x="1728" y="1097"/>
                </a:lnTo>
                <a:lnTo>
                  <a:pt x="1728" y="1365"/>
                </a:lnTo>
                <a:lnTo>
                  <a:pt x="2002" y="1097"/>
                </a:lnTo>
                <a:lnTo>
                  <a:pt x="2668" y="1097"/>
                </a:lnTo>
                <a:lnTo>
                  <a:pt x="2704" y="1094"/>
                </a:lnTo>
                <a:lnTo>
                  <a:pt x="2737" y="1086"/>
                </a:lnTo>
                <a:lnTo>
                  <a:pt x="2769" y="1073"/>
                </a:lnTo>
                <a:lnTo>
                  <a:pt x="2797" y="1055"/>
                </a:lnTo>
                <a:lnTo>
                  <a:pt x="2822" y="1034"/>
                </a:lnTo>
                <a:lnTo>
                  <a:pt x="2844" y="1009"/>
                </a:lnTo>
                <a:lnTo>
                  <a:pt x="2862" y="980"/>
                </a:lnTo>
                <a:lnTo>
                  <a:pt x="2876" y="950"/>
                </a:lnTo>
                <a:lnTo>
                  <a:pt x="2884" y="917"/>
                </a:lnTo>
                <a:lnTo>
                  <a:pt x="2888" y="882"/>
                </a:lnTo>
                <a:lnTo>
                  <a:pt x="2888" y="334"/>
                </a:lnTo>
                <a:lnTo>
                  <a:pt x="2884" y="299"/>
                </a:lnTo>
                <a:lnTo>
                  <a:pt x="2876" y="267"/>
                </a:lnTo>
                <a:lnTo>
                  <a:pt x="2862" y="236"/>
                </a:lnTo>
                <a:lnTo>
                  <a:pt x="2844" y="208"/>
                </a:lnTo>
                <a:lnTo>
                  <a:pt x="2822" y="183"/>
                </a:lnTo>
                <a:lnTo>
                  <a:pt x="2797" y="161"/>
                </a:lnTo>
                <a:lnTo>
                  <a:pt x="2769" y="144"/>
                </a:lnTo>
                <a:lnTo>
                  <a:pt x="2737" y="131"/>
                </a:lnTo>
                <a:lnTo>
                  <a:pt x="2704" y="123"/>
                </a:lnTo>
                <a:lnTo>
                  <a:pt x="2668" y="120"/>
                </a:lnTo>
                <a:lnTo>
                  <a:pt x="1484" y="120"/>
                </a:lnTo>
                <a:close/>
                <a:moveTo>
                  <a:pt x="1484" y="0"/>
                </a:moveTo>
                <a:lnTo>
                  <a:pt x="2668" y="0"/>
                </a:lnTo>
                <a:lnTo>
                  <a:pt x="2714" y="3"/>
                </a:lnTo>
                <a:lnTo>
                  <a:pt x="2759" y="12"/>
                </a:lnTo>
                <a:lnTo>
                  <a:pt x="2801" y="27"/>
                </a:lnTo>
                <a:lnTo>
                  <a:pt x="2840" y="46"/>
                </a:lnTo>
                <a:lnTo>
                  <a:pt x="2877" y="70"/>
                </a:lnTo>
                <a:lnTo>
                  <a:pt x="2910" y="97"/>
                </a:lnTo>
                <a:lnTo>
                  <a:pt x="2939" y="130"/>
                </a:lnTo>
                <a:lnTo>
                  <a:pt x="2963" y="165"/>
                </a:lnTo>
                <a:lnTo>
                  <a:pt x="2983" y="204"/>
                </a:lnTo>
                <a:lnTo>
                  <a:pt x="2998" y="245"/>
                </a:lnTo>
                <a:lnTo>
                  <a:pt x="3007" y="288"/>
                </a:lnTo>
                <a:lnTo>
                  <a:pt x="3010" y="334"/>
                </a:lnTo>
                <a:lnTo>
                  <a:pt x="3010" y="882"/>
                </a:lnTo>
                <a:lnTo>
                  <a:pt x="3007" y="928"/>
                </a:lnTo>
                <a:lnTo>
                  <a:pt x="2998" y="971"/>
                </a:lnTo>
                <a:lnTo>
                  <a:pt x="2983" y="1012"/>
                </a:lnTo>
                <a:lnTo>
                  <a:pt x="2963" y="1051"/>
                </a:lnTo>
                <a:lnTo>
                  <a:pt x="2939" y="1086"/>
                </a:lnTo>
                <a:lnTo>
                  <a:pt x="2910" y="1118"/>
                </a:lnTo>
                <a:lnTo>
                  <a:pt x="2877" y="1146"/>
                </a:lnTo>
                <a:lnTo>
                  <a:pt x="2840" y="1170"/>
                </a:lnTo>
                <a:lnTo>
                  <a:pt x="2801" y="1190"/>
                </a:lnTo>
                <a:lnTo>
                  <a:pt x="2759" y="1204"/>
                </a:lnTo>
                <a:lnTo>
                  <a:pt x="2714" y="1213"/>
                </a:lnTo>
                <a:lnTo>
                  <a:pt x="2668" y="1216"/>
                </a:lnTo>
                <a:lnTo>
                  <a:pt x="2053" y="1216"/>
                </a:lnTo>
                <a:lnTo>
                  <a:pt x="1604" y="1654"/>
                </a:lnTo>
                <a:lnTo>
                  <a:pt x="1604" y="1216"/>
                </a:lnTo>
                <a:lnTo>
                  <a:pt x="1484" y="1216"/>
                </a:lnTo>
                <a:lnTo>
                  <a:pt x="1437" y="1213"/>
                </a:lnTo>
                <a:lnTo>
                  <a:pt x="1393" y="1204"/>
                </a:lnTo>
                <a:lnTo>
                  <a:pt x="1351" y="1190"/>
                </a:lnTo>
                <a:lnTo>
                  <a:pt x="1312" y="1170"/>
                </a:lnTo>
                <a:lnTo>
                  <a:pt x="1275" y="1146"/>
                </a:lnTo>
                <a:lnTo>
                  <a:pt x="1242" y="1118"/>
                </a:lnTo>
                <a:lnTo>
                  <a:pt x="1214" y="1086"/>
                </a:lnTo>
                <a:lnTo>
                  <a:pt x="1189" y="1051"/>
                </a:lnTo>
                <a:lnTo>
                  <a:pt x="1169" y="1012"/>
                </a:lnTo>
                <a:lnTo>
                  <a:pt x="1154" y="971"/>
                </a:lnTo>
                <a:lnTo>
                  <a:pt x="1146" y="928"/>
                </a:lnTo>
                <a:lnTo>
                  <a:pt x="1143" y="882"/>
                </a:lnTo>
                <a:lnTo>
                  <a:pt x="1143" y="334"/>
                </a:lnTo>
                <a:lnTo>
                  <a:pt x="1145" y="288"/>
                </a:lnTo>
                <a:lnTo>
                  <a:pt x="1154" y="245"/>
                </a:lnTo>
                <a:lnTo>
                  <a:pt x="1169" y="204"/>
                </a:lnTo>
                <a:lnTo>
                  <a:pt x="1189" y="165"/>
                </a:lnTo>
                <a:lnTo>
                  <a:pt x="1213" y="130"/>
                </a:lnTo>
                <a:lnTo>
                  <a:pt x="1242" y="97"/>
                </a:lnTo>
                <a:lnTo>
                  <a:pt x="1275" y="70"/>
                </a:lnTo>
                <a:lnTo>
                  <a:pt x="1312" y="46"/>
                </a:lnTo>
                <a:lnTo>
                  <a:pt x="1350" y="27"/>
                </a:lnTo>
                <a:lnTo>
                  <a:pt x="1393" y="12"/>
                </a:lnTo>
                <a:lnTo>
                  <a:pt x="1437" y="3"/>
                </a:lnTo>
                <a:lnTo>
                  <a:pt x="1484"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nvGrpSpPr>
          <p:cNvPr id="27" name="Group 26">
            <a:extLst>
              <a:ext uri="{FF2B5EF4-FFF2-40B4-BE49-F238E27FC236}">
                <a16:creationId xmlns:a16="http://schemas.microsoft.com/office/drawing/2014/main" id="{22F3E072-5545-45AE-96F3-3D8DE1CBFFB0}"/>
              </a:ext>
            </a:extLst>
          </p:cNvPr>
          <p:cNvGrpSpPr/>
          <p:nvPr/>
        </p:nvGrpSpPr>
        <p:grpSpPr>
          <a:xfrm>
            <a:off x="7459569" y="3618641"/>
            <a:ext cx="412510" cy="414876"/>
            <a:chOff x="-2292350" y="3246438"/>
            <a:chExt cx="2082800" cy="2092325"/>
          </a:xfrm>
          <a:solidFill>
            <a:schemeClr val="tx1"/>
          </a:solidFill>
        </p:grpSpPr>
        <p:sp>
          <p:nvSpPr>
            <p:cNvPr id="28" name="Freeform 125">
              <a:extLst>
                <a:ext uri="{FF2B5EF4-FFF2-40B4-BE49-F238E27FC236}">
                  <a16:creationId xmlns:a16="http://schemas.microsoft.com/office/drawing/2014/main" id="{0BC6ACCE-4DC5-313E-B7B3-7EF1E579F542}"/>
                </a:ext>
              </a:extLst>
            </p:cNvPr>
            <p:cNvSpPr>
              <a:spLocks/>
            </p:cNvSpPr>
            <p:nvPr/>
          </p:nvSpPr>
          <p:spPr bwMode="auto">
            <a:xfrm>
              <a:off x="-2292350" y="3457575"/>
              <a:ext cx="1881188" cy="1881188"/>
            </a:xfrm>
            <a:custGeom>
              <a:avLst/>
              <a:gdLst>
                <a:gd name="T0" fmla="*/ 1994 w 3554"/>
                <a:gd name="T1" fmla="*/ 14 h 3556"/>
                <a:gd name="T2" fmla="*/ 2305 w 3554"/>
                <a:gd name="T3" fmla="*/ 81 h 3556"/>
                <a:gd name="T4" fmla="*/ 2594 w 3554"/>
                <a:gd name="T5" fmla="*/ 198 h 3556"/>
                <a:gd name="T6" fmla="*/ 2613 w 3554"/>
                <a:gd name="T7" fmla="*/ 520 h 3556"/>
                <a:gd name="T8" fmla="*/ 2309 w 3554"/>
                <a:gd name="T9" fmla="*/ 584 h 3556"/>
                <a:gd name="T10" fmla="*/ 2053 w 3554"/>
                <a:gd name="T11" fmla="*/ 501 h 3556"/>
                <a:gd name="T12" fmla="*/ 1777 w 3554"/>
                <a:gd name="T13" fmla="*/ 471 h 3556"/>
                <a:gd name="T14" fmla="*/ 1491 w 3554"/>
                <a:gd name="T15" fmla="*/ 502 h 3556"/>
                <a:gd name="T16" fmla="*/ 1226 w 3554"/>
                <a:gd name="T17" fmla="*/ 592 h 3556"/>
                <a:gd name="T18" fmla="*/ 991 w 3554"/>
                <a:gd name="T19" fmla="*/ 734 h 3556"/>
                <a:gd name="T20" fmla="*/ 791 w 3554"/>
                <a:gd name="T21" fmla="*/ 920 h 3556"/>
                <a:gd name="T22" fmla="*/ 634 w 3554"/>
                <a:gd name="T23" fmla="*/ 1145 h 3556"/>
                <a:gd name="T24" fmla="*/ 526 w 3554"/>
                <a:gd name="T25" fmla="*/ 1401 h 3556"/>
                <a:gd name="T26" fmla="*/ 474 w 3554"/>
                <a:gd name="T27" fmla="*/ 1680 h 3556"/>
                <a:gd name="T28" fmla="*/ 485 w 3554"/>
                <a:gd name="T29" fmla="*/ 1971 h 3556"/>
                <a:gd name="T30" fmla="*/ 556 w 3554"/>
                <a:gd name="T31" fmla="*/ 2244 h 3556"/>
                <a:gd name="T32" fmla="*/ 681 w 3554"/>
                <a:gd name="T33" fmla="*/ 2490 h 3556"/>
                <a:gd name="T34" fmla="*/ 854 w 3554"/>
                <a:gd name="T35" fmla="*/ 2702 h 3556"/>
                <a:gd name="T36" fmla="*/ 1066 w 3554"/>
                <a:gd name="T37" fmla="*/ 2874 h 3556"/>
                <a:gd name="T38" fmla="*/ 1312 w 3554"/>
                <a:gd name="T39" fmla="*/ 2999 h 3556"/>
                <a:gd name="T40" fmla="*/ 1585 w 3554"/>
                <a:gd name="T41" fmla="*/ 3071 h 3556"/>
                <a:gd name="T42" fmla="*/ 1876 w 3554"/>
                <a:gd name="T43" fmla="*/ 3082 h 3556"/>
                <a:gd name="T44" fmla="*/ 2155 w 3554"/>
                <a:gd name="T45" fmla="*/ 3029 h 3556"/>
                <a:gd name="T46" fmla="*/ 2411 w 3554"/>
                <a:gd name="T47" fmla="*/ 2922 h 3556"/>
                <a:gd name="T48" fmla="*/ 2634 w 3554"/>
                <a:gd name="T49" fmla="*/ 2765 h 3556"/>
                <a:gd name="T50" fmla="*/ 2822 w 3554"/>
                <a:gd name="T51" fmla="*/ 2564 h 3556"/>
                <a:gd name="T52" fmla="*/ 2962 w 3554"/>
                <a:gd name="T53" fmla="*/ 2329 h 3556"/>
                <a:gd name="T54" fmla="*/ 3052 w 3554"/>
                <a:gd name="T55" fmla="*/ 2065 h 3556"/>
                <a:gd name="T56" fmla="*/ 3085 w 3554"/>
                <a:gd name="T57" fmla="*/ 1778 h 3556"/>
                <a:gd name="T58" fmla="*/ 3055 w 3554"/>
                <a:gd name="T59" fmla="*/ 1503 h 3556"/>
                <a:gd name="T60" fmla="*/ 2972 w 3554"/>
                <a:gd name="T61" fmla="*/ 1247 h 3556"/>
                <a:gd name="T62" fmla="*/ 3051 w 3554"/>
                <a:gd name="T63" fmla="*/ 927 h 3556"/>
                <a:gd name="T64" fmla="*/ 3325 w 3554"/>
                <a:gd name="T65" fmla="*/ 945 h 3556"/>
                <a:gd name="T66" fmla="*/ 3435 w 3554"/>
                <a:gd name="T67" fmla="*/ 1136 h 3556"/>
                <a:gd name="T68" fmla="*/ 3524 w 3554"/>
                <a:gd name="T69" fmla="*/ 1446 h 3556"/>
                <a:gd name="T70" fmla="*/ 3554 w 3554"/>
                <a:gd name="T71" fmla="*/ 1778 h 3556"/>
                <a:gd name="T72" fmla="*/ 3522 w 3554"/>
                <a:gd name="T73" fmla="*/ 2122 h 3556"/>
                <a:gd name="T74" fmla="*/ 3426 w 3554"/>
                <a:gd name="T75" fmla="*/ 2444 h 3556"/>
                <a:gd name="T76" fmla="*/ 3273 w 3554"/>
                <a:gd name="T77" fmla="*/ 2737 h 3556"/>
                <a:gd name="T78" fmla="*/ 3073 w 3554"/>
                <a:gd name="T79" fmla="*/ 2995 h 3556"/>
                <a:gd name="T80" fmla="*/ 2827 w 3554"/>
                <a:gd name="T81" fmla="*/ 3213 h 3556"/>
                <a:gd name="T82" fmla="*/ 2544 w 3554"/>
                <a:gd name="T83" fmla="*/ 3382 h 3556"/>
                <a:gd name="T84" fmla="*/ 2232 w 3554"/>
                <a:gd name="T85" fmla="*/ 3497 h 3556"/>
                <a:gd name="T86" fmla="*/ 1894 w 3554"/>
                <a:gd name="T87" fmla="*/ 3553 h 3556"/>
                <a:gd name="T88" fmla="*/ 1545 w 3554"/>
                <a:gd name="T89" fmla="*/ 3541 h 3556"/>
                <a:gd name="T90" fmla="*/ 1215 w 3554"/>
                <a:gd name="T91" fmla="*/ 3465 h 3556"/>
                <a:gd name="T92" fmla="*/ 911 w 3554"/>
                <a:gd name="T93" fmla="*/ 3332 h 3556"/>
                <a:gd name="T94" fmla="*/ 641 w 3554"/>
                <a:gd name="T95" fmla="*/ 3145 h 3556"/>
                <a:gd name="T96" fmla="*/ 409 w 3554"/>
                <a:gd name="T97" fmla="*/ 2914 h 3556"/>
                <a:gd name="T98" fmla="*/ 225 w 3554"/>
                <a:gd name="T99" fmla="*/ 2644 h 3556"/>
                <a:gd name="T100" fmla="*/ 90 w 3554"/>
                <a:gd name="T101" fmla="*/ 2340 h 3556"/>
                <a:gd name="T102" fmla="*/ 14 w 3554"/>
                <a:gd name="T103" fmla="*/ 2009 h 3556"/>
                <a:gd name="T104" fmla="*/ 0 w 3554"/>
                <a:gd name="T105" fmla="*/ 1778 h 3556"/>
                <a:gd name="T106" fmla="*/ 34 w 3554"/>
                <a:gd name="T107" fmla="*/ 1434 h 3556"/>
                <a:gd name="T108" fmla="*/ 128 w 3554"/>
                <a:gd name="T109" fmla="*/ 1111 h 3556"/>
                <a:gd name="T110" fmla="*/ 281 w 3554"/>
                <a:gd name="T111" fmla="*/ 818 h 3556"/>
                <a:gd name="T112" fmla="*/ 483 w 3554"/>
                <a:gd name="T113" fmla="*/ 560 h 3556"/>
                <a:gd name="T114" fmla="*/ 728 w 3554"/>
                <a:gd name="T115" fmla="*/ 344 h 3556"/>
                <a:gd name="T116" fmla="*/ 1010 w 3554"/>
                <a:gd name="T117" fmla="*/ 174 h 3556"/>
                <a:gd name="T118" fmla="*/ 1322 w 3554"/>
                <a:gd name="T119" fmla="*/ 59 h 3556"/>
                <a:gd name="T120" fmla="*/ 1659 w 3554"/>
                <a:gd name="T121" fmla="*/ 4 h 3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54" h="3556">
                  <a:moveTo>
                    <a:pt x="1777" y="0"/>
                  </a:moveTo>
                  <a:lnTo>
                    <a:pt x="1886" y="4"/>
                  </a:lnTo>
                  <a:lnTo>
                    <a:pt x="1994" y="14"/>
                  </a:lnTo>
                  <a:lnTo>
                    <a:pt x="2100" y="29"/>
                  </a:lnTo>
                  <a:lnTo>
                    <a:pt x="2203" y="52"/>
                  </a:lnTo>
                  <a:lnTo>
                    <a:pt x="2305" y="81"/>
                  </a:lnTo>
                  <a:lnTo>
                    <a:pt x="2404" y="114"/>
                  </a:lnTo>
                  <a:lnTo>
                    <a:pt x="2500" y="154"/>
                  </a:lnTo>
                  <a:lnTo>
                    <a:pt x="2594" y="198"/>
                  </a:lnTo>
                  <a:lnTo>
                    <a:pt x="2591" y="230"/>
                  </a:lnTo>
                  <a:lnTo>
                    <a:pt x="2592" y="261"/>
                  </a:lnTo>
                  <a:lnTo>
                    <a:pt x="2613" y="520"/>
                  </a:lnTo>
                  <a:lnTo>
                    <a:pt x="2465" y="667"/>
                  </a:lnTo>
                  <a:lnTo>
                    <a:pt x="2388" y="624"/>
                  </a:lnTo>
                  <a:lnTo>
                    <a:pt x="2309" y="584"/>
                  </a:lnTo>
                  <a:lnTo>
                    <a:pt x="2226" y="550"/>
                  </a:lnTo>
                  <a:lnTo>
                    <a:pt x="2141" y="523"/>
                  </a:lnTo>
                  <a:lnTo>
                    <a:pt x="2053" y="501"/>
                  </a:lnTo>
                  <a:lnTo>
                    <a:pt x="1963" y="484"/>
                  </a:lnTo>
                  <a:lnTo>
                    <a:pt x="1871" y="475"/>
                  </a:lnTo>
                  <a:lnTo>
                    <a:pt x="1777" y="471"/>
                  </a:lnTo>
                  <a:lnTo>
                    <a:pt x="1680" y="475"/>
                  </a:lnTo>
                  <a:lnTo>
                    <a:pt x="1584" y="485"/>
                  </a:lnTo>
                  <a:lnTo>
                    <a:pt x="1491" y="502"/>
                  </a:lnTo>
                  <a:lnTo>
                    <a:pt x="1400" y="526"/>
                  </a:lnTo>
                  <a:lnTo>
                    <a:pt x="1311" y="556"/>
                  </a:lnTo>
                  <a:lnTo>
                    <a:pt x="1226" y="592"/>
                  </a:lnTo>
                  <a:lnTo>
                    <a:pt x="1144" y="634"/>
                  </a:lnTo>
                  <a:lnTo>
                    <a:pt x="1066" y="682"/>
                  </a:lnTo>
                  <a:lnTo>
                    <a:pt x="991" y="734"/>
                  </a:lnTo>
                  <a:lnTo>
                    <a:pt x="920" y="792"/>
                  </a:lnTo>
                  <a:lnTo>
                    <a:pt x="854" y="854"/>
                  </a:lnTo>
                  <a:lnTo>
                    <a:pt x="791" y="920"/>
                  </a:lnTo>
                  <a:lnTo>
                    <a:pt x="734" y="992"/>
                  </a:lnTo>
                  <a:lnTo>
                    <a:pt x="681" y="1067"/>
                  </a:lnTo>
                  <a:lnTo>
                    <a:pt x="634" y="1145"/>
                  </a:lnTo>
                  <a:lnTo>
                    <a:pt x="592" y="1228"/>
                  </a:lnTo>
                  <a:lnTo>
                    <a:pt x="556" y="1313"/>
                  </a:lnTo>
                  <a:lnTo>
                    <a:pt x="526" y="1401"/>
                  </a:lnTo>
                  <a:lnTo>
                    <a:pt x="502" y="1492"/>
                  </a:lnTo>
                  <a:lnTo>
                    <a:pt x="485" y="1586"/>
                  </a:lnTo>
                  <a:lnTo>
                    <a:pt x="474" y="1680"/>
                  </a:lnTo>
                  <a:lnTo>
                    <a:pt x="471" y="1778"/>
                  </a:lnTo>
                  <a:lnTo>
                    <a:pt x="474" y="1876"/>
                  </a:lnTo>
                  <a:lnTo>
                    <a:pt x="485" y="1971"/>
                  </a:lnTo>
                  <a:lnTo>
                    <a:pt x="502" y="2065"/>
                  </a:lnTo>
                  <a:lnTo>
                    <a:pt x="526" y="2156"/>
                  </a:lnTo>
                  <a:lnTo>
                    <a:pt x="556" y="2244"/>
                  </a:lnTo>
                  <a:lnTo>
                    <a:pt x="592" y="2329"/>
                  </a:lnTo>
                  <a:lnTo>
                    <a:pt x="634" y="2411"/>
                  </a:lnTo>
                  <a:lnTo>
                    <a:pt x="681" y="2490"/>
                  </a:lnTo>
                  <a:lnTo>
                    <a:pt x="734" y="2564"/>
                  </a:lnTo>
                  <a:lnTo>
                    <a:pt x="791" y="2635"/>
                  </a:lnTo>
                  <a:lnTo>
                    <a:pt x="854" y="2702"/>
                  </a:lnTo>
                  <a:lnTo>
                    <a:pt x="920" y="2765"/>
                  </a:lnTo>
                  <a:lnTo>
                    <a:pt x="992" y="2821"/>
                  </a:lnTo>
                  <a:lnTo>
                    <a:pt x="1066" y="2874"/>
                  </a:lnTo>
                  <a:lnTo>
                    <a:pt x="1144" y="2922"/>
                  </a:lnTo>
                  <a:lnTo>
                    <a:pt x="1227" y="2963"/>
                  </a:lnTo>
                  <a:lnTo>
                    <a:pt x="1312" y="2999"/>
                  </a:lnTo>
                  <a:lnTo>
                    <a:pt x="1400" y="3029"/>
                  </a:lnTo>
                  <a:lnTo>
                    <a:pt x="1491" y="3053"/>
                  </a:lnTo>
                  <a:lnTo>
                    <a:pt x="1585" y="3071"/>
                  </a:lnTo>
                  <a:lnTo>
                    <a:pt x="1680" y="3082"/>
                  </a:lnTo>
                  <a:lnTo>
                    <a:pt x="1777" y="3084"/>
                  </a:lnTo>
                  <a:lnTo>
                    <a:pt x="1876" y="3082"/>
                  </a:lnTo>
                  <a:lnTo>
                    <a:pt x="1970" y="3071"/>
                  </a:lnTo>
                  <a:lnTo>
                    <a:pt x="2064" y="3053"/>
                  </a:lnTo>
                  <a:lnTo>
                    <a:pt x="2155" y="3029"/>
                  </a:lnTo>
                  <a:lnTo>
                    <a:pt x="2243" y="2999"/>
                  </a:lnTo>
                  <a:lnTo>
                    <a:pt x="2328" y="2963"/>
                  </a:lnTo>
                  <a:lnTo>
                    <a:pt x="2411" y="2922"/>
                  </a:lnTo>
                  <a:lnTo>
                    <a:pt x="2489" y="2874"/>
                  </a:lnTo>
                  <a:lnTo>
                    <a:pt x="2564" y="2821"/>
                  </a:lnTo>
                  <a:lnTo>
                    <a:pt x="2634" y="2765"/>
                  </a:lnTo>
                  <a:lnTo>
                    <a:pt x="2702" y="2702"/>
                  </a:lnTo>
                  <a:lnTo>
                    <a:pt x="2764" y="2635"/>
                  </a:lnTo>
                  <a:lnTo>
                    <a:pt x="2822" y="2564"/>
                  </a:lnTo>
                  <a:lnTo>
                    <a:pt x="2873" y="2490"/>
                  </a:lnTo>
                  <a:lnTo>
                    <a:pt x="2921" y="2411"/>
                  </a:lnTo>
                  <a:lnTo>
                    <a:pt x="2962" y="2329"/>
                  </a:lnTo>
                  <a:lnTo>
                    <a:pt x="2998" y="2244"/>
                  </a:lnTo>
                  <a:lnTo>
                    <a:pt x="3029" y="2156"/>
                  </a:lnTo>
                  <a:lnTo>
                    <a:pt x="3052" y="2065"/>
                  </a:lnTo>
                  <a:lnTo>
                    <a:pt x="3070" y="1971"/>
                  </a:lnTo>
                  <a:lnTo>
                    <a:pt x="3081" y="1876"/>
                  </a:lnTo>
                  <a:lnTo>
                    <a:pt x="3085" y="1778"/>
                  </a:lnTo>
                  <a:lnTo>
                    <a:pt x="3081" y="1684"/>
                  </a:lnTo>
                  <a:lnTo>
                    <a:pt x="3071" y="1593"/>
                  </a:lnTo>
                  <a:lnTo>
                    <a:pt x="3055" y="1503"/>
                  </a:lnTo>
                  <a:lnTo>
                    <a:pt x="3033" y="1415"/>
                  </a:lnTo>
                  <a:lnTo>
                    <a:pt x="3005" y="1329"/>
                  </a:lnTo>
                  <a:lnTo>
                    <a:pt x="2972" y="1247"/>
                  </a:lnTo>
                  <a:lnTo>
                    <a:pt x="2932" y="1166"/>
                  </a:lnTo>
                  <a:lnTo>
                    <a:pt x="2889" y="1090"/>
                  </a:lnTo>
                  <a:lnTo>
                    <a:pt x="3051" y="927"/>
                  </a:lnTo>
                  <a:lnTo>
                    <a:pt x="3277" y="944"/>
                  </a:lnTo>
                  <a:lnTo>
                    <a:pt x="3303" y="945"/>
                  </a:lnTo>
                  <a:lnTo>
                    <a:pt x="3325" y="945"/>
                  </a:lnTo>
                  <a:lnTo>
                    <a:pt x="3346" y="943"/>
                  </a:lnTo>
                  <a:lnTo>
                    <a:pt x="3394" y="1038"/>
                  </a:lnTo>
                  <a:lnTo>
                    <a:pt x="3435" y="1136"/>
                  </a:lnTo>
                  <a:lnTo>
                    <a:pt x="3471" y="1237"/>
                  </a:lnTo>
                  <a:lnTo>
                    <a:pt x="3500" y="1341"/>
                  </a:lnTo>
                  <a:lnTo>
                    <a:pt x="3524" y="1446"/>
                  </a:lnTo>
                  <a:lnTo>
                    <a:pt x="3541" y="1555"/>
                  </a:lnTo>
                  <a:lnTo>
                    <a:pt x="3552" y="1666"/>
                  </a:lnTo>
                  <a:lnTo>
                    <a:pt x="3554" y="1778"/>
                  </a:lnTo>
                  <a:lnTo>
                    <a:pt x="3551" y="1895"/>
                  </a:lnTo>
                  <a:lnTo>
                    <a:pt x="3540" y="2009"/>
                  </a:lnTo>
                  <a:lnTo>
                    <a:pt x="3522" y="2122"/>
                  </a:lnTo>
                  <a:lnTo>
                    <a:pt x="3497" y="2233"/>
                  </a:lnTo>
                  <a:lnTo>
                    <a:pt x="3464" y="2340"/>
                  </a:lnTo>
                  <a:lnTo>
                    <a:pt x="3426" y="2444"/>
                  </a:lnTo>
                  <a:lnTo>
                    <a:pt x="3381" y="2546"/>
                  </a:lnTo>
                  <a:lnTo>
                    <a:pt x="3331" y="2644"/>
                  </a:lnTo>
                  <a:lnTo>
                    <a:pt x="3273" y="2737"/>
                  </a:lnTo>
                  <a:lnTo>
                    <a:pt x="3212" y="2828"/>
                  </a:lnTo>
                  <a:lnTo>
                    <a:pt x="3145" y="2914"/>
                  </a:lnTo>
                  <a:lnTo>
                    <a:pt x="3073" y="2995"/>
                  </a:lnTo>
                  <a:lnTo>
                    <a:pt x="2995" y="3073"/>
                  </a:lnTo>
                  <a:lnTo>
                    <a:pt x="2913" y="3145"/>
                  </a:lnTo>
                  <a:lnTo>
                    <a:pt x="2827" y="3213"/>
                  </a:lnTo>
                  <a:lnTo>
                    <a:pt x="2736" y="3275"/>
                  </a:lnTo>
                  <a:lnTo>
                    <a:pt x="2643" y="3332"/>
                  </a:lnTo>
                  <a:lnTo>
                    <a:pt x="2544" y="3382"/>
                  </a:lnTo>
                  <a:lnTo>
                    <a:pt x="2443" y="3426"/>
                  </a:lnTo>
                  <a:lnTo>
                    <a:pt x="2339" y="3465"/>
                  </a:lnTo>
                  <a:lnTo>
                    <a:pt x="2232" y="3497"/>
                  </a:lnTo>
                  <a:lnTo>
                    <a:pt x="2122" y="3523"/>
                  </a:lnTo>
                  <a:lnTo>
                    <a:pt x="2009" y="3541"/>
                  </a:lnTo>
                  <a:lnTo>
                    <a:pt x="1894" y="3553"/>
                  </a:lnTo>
                  <a:lnTo>
                    <a:pt x="1777" y="3556"/>
                  </a:lnTo>
                  <a:lnTo>
                    <a:pt x="1661" y="3553"/>
                  </a:lnTo>
                  <a:lnTo>
                    <a:pt x="1545" y="3541"/>
                  </a:lnTo>
                  <a:lnTo>
                    <a:pt x="1432" y="3523"/>
                  </a:lnTo>
                  <a:lnTo>
                    <a:pt x="1323" y="3497"/>
                  </a:lnTo>
                  <a:lnTo>
                    <a:pt x="1215" y="3465"/>
                  </a:lnTo>
                  <a:lnTo>
                    <a:pt x="1111" y="3426"/>
                  </a:lnTo>
                  <a:lnTo>
                    <a:pt x="1010" y="3382"/>
                  </a:lnTo>
                  <a:lnTo>
                    <a:pt x="911" y="3332"/>
                  </a:lnTo>
                  <a:lnTo>
                    <a:pt x="818" y="3275"/>
                  </a:lnTo>
                  <a:lnTo>
                    <a:pt x="728" y="3213"/>
                  </a:lnTo>
                  <a:lnTo>
                    <a:pt x="641" y="3145"/>
                  </a:lnTo>
                  <a:lnTo>
                    <a:pt x="560" y="3073"/>
                  </a:lnTo>
                  <a:lnTo>
                    <a:pt x="483" y="2995"/>
                  </a:lnTo>
                  <a:lnTo>
                    <a:pt x="409" y="2914"/>
                  </a:lnTo>
                  <a:lnTo>
                    <a:pt x="342" y="2828"/>
                  </a:lnTo>
                  <a:lnTo>
                    <a:pt x="281" y="2737"/>
                  </a:lnTo>
                  <a:lnTo>
                    <a:pt x="225" y="2644"/>
                  </a:lnTo>
                  <a:lnTo>
                    <a:pt x="174" y="2546"/>
                  </a:lnTo>
                  <a:lnTo>
                    <a:pt x="128" y="2444"/>
                  </a:lnTo>
                  <a:lnTo>
                    <a:pt x="90" y="2340"/>
                  </a:lnTo>
                  <a:lnTo>
                    <a:pt x="59" y="2233"/>
                  </a:lnTo>
                  <a:lnTo>
                    <a:pt x="34" y="2122"/>
                  </a:lnTo>
                  <a:lnTo>
                    <a:pt x="14" y="2009"/>
                  </a:lnTo>
                  <a:lnTo>
                    <a:pt x="4" y="1895"/>
                  </a:lnTo>
                  <a:lnTo>
                    <a:pt x="0" y="1778"/>
                  </a:lnTo>
                  <a:lnTo>
                    <a:pt x="0" y="1778"/>
                  </a:lnTo>
                  <a:lnTo>
                    <a:pt x="4" y="1661"/>
                  </a:lnTo>
                  <a:lnTo>
                    <a:pt x="14" y="1546"/>
                  </a:lnTo>
                  <a:lnTo>
                    <a:pt x="34" y="1434"/>
                  </a:lnTo>
                  <a:lnTo>
                    <a:pt x="59" y="1324"/>
                  </a:lnTo>
                  <a:lnTo>
                    <a:pt x="90" y="1216"/>
                  </a:lnTo>
                  <a:lnTo>
                    <a:pt x="128" y="1111"/>
                  </a:lnTo>
                  <a:lnTo>
                    <a:pt x="174" y="1010"/>
                  </a:lnTo>
                  <a:lnTo>
                    <a:pt x="225" y="913"/>
                  </a:lnTo>
                  <a:lnTo>
                    <a:pt x="281" y="818"/>
                  </a:lnTo>
                  <a:lnTo>
                    <a:pt x="342" y="728"/>
                  </a:lnTo>
                  <a:lnTo>
                    <a:pt x="409" y="642"/>
                  </a:lnTo>
                  <a:lnTo>
                    <a:pt x="483" y="560"/>
                  </a:lnTo>
                  <a:lnTo>
                    <a:pt x="560" y="483"/>
                  </a:lnTo>
                  <a:lnTo>
                    <a:pt x="641" y="411"/>
                  </a:lnTo>
                  <a:lnTo>
                    <a:pt x="728" y="344"/>
                  </a:lnTo>
                  <a:lnTo>
                    <a:pt x="818" y="281"/>
                  </a:lnTo>
                  <a:lnTo>
                    <a:pt x="911" y="225"/>
                  </a:lnTo>
                  <a:lnTo>
                    <a:pt x="1010" y="174"/>
                  </a:lnTo>
                  <a:lnTo>
                    <a:pt x="1111" y="130"/>
                  </a:lnTo>
                  <a:lnTo>
                    <a:pt x="1215" y="90"/>
                  </a:lnTo>
                  <a:lnTo>
                    <a:pt x="1322" y="59"/>
                  </a:lnTo>
                  <a:lnTo>
                    <a:pt x="1432" y="34"/>
                  </a:lnTo>
                  <a:lnTo>
                    <a:pt x="1545" y="15"/>
                  </a:lnTo>
                  <a:lnTo>
                    <a:pt x="1659" y="4"/>
                  </a:lnTo>
                  <a:lnTo>
                    <a:pt x="17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9" name="Freeform 126">
              <a:extLst>
                <a:ext uri="{FF2B5EF4-FFF2-40B4-BE49-F238E27FC236}">
                  <a16:creationId xmlns:a16="http://schemas.microsoft.com/office/drawing/2014/main" id="{543BD31B-6438-DB61-43F9-1ACCF9392292}"/>
                </a:ext>
              </a:extLst>
            </p:cNvPr>
            <p:cNvSpPr>
              <a:spLocks/>
            </p:cNvSpPr>
            <p:nvPr/>
          </p:nvSpPr>
          <p:spPr bwMode="auto">
            <a:xfrm>
              <a:off x="-1814513" y="3935413"/>
              <a:ext cx="925513" cy="925513"/>
            </a:xfrm>
            <a:custGeom>
              <a:avLst/>
              <a:gdLst>
                <a:gd name="T0" fmla="*/ 954 w 1750"/>
                <a:gd name="T1" fmla="*/ 4 h 1751"/>
                <a:gd name="T2" fmla="*/ 1104 w 1750"/>
                <a:gd name="T3" fmla="*/ 31 h 1751"/>
                <a:gd name="T4" fmla="*/ 1245 w 1750"/>
                <a:gd name="T5" fmla="*/ 83 h 1751"/>
                <a:gd name="T6" fmla="*/ 910 w 1750"/>
                <a:gd name="T7" fmla="*/ 418 h 1751"/>
                <a:gd name="T8" fmla="*/ 817 w 1750"/>
                <a:gd name="T9" fmla="*/ 421 h 1751"/>
                <a:gd name="T10" fmla="*/ 709 w 1750"/>
                <a:gd name="T11" fmla="*/ 448 h 1751"/>
                <a:gd name="T12" fmla="*/ 613 w 1750"/>
                <a:gd name="T13" fmla="*/ 499 h 1751"/>
                <a:gd name="T14" fmla="*/ 532 w 1750"/>
                <a:gd name="T15" fmla="*/ 571 h 1751"/>
                <a:gd name="T16" fmla="*/ 469 w 1750"/>
                <a:gd name="T17" fmla="*/ 661 h 1751"/>
                <a:gd name="T18" fmla="*/ 430 w 1750"/>
                <a:gd name="T19" fmla="*/ 763 h 1751"/>
                <a:gd name="T20" fmla="*/ 416 w 1750"/>
                <a:gd name="T21" fmla="*/ 876 h 1751"/>
                <a:gd name="T22" fmla="*/ 430 w 1750"/>
                <a:gd name="T23" fmla="*/ 989 h 1751"/>
                <a:gd name="T24" fmla="*/ 469 w 1750"/>
                <a:gd name="T25" fmla="*/ 1092 h 1751"/>
                <a:gd name="T26" fmla="*/ 532 w 1750"/>
                <a:gd name="T27" fmla="*/ 1181 h 1751"/>
                <a:gd name="T28" fmla="*/ 612 w 1750"/>
                <a:gd name="T29" fmla="*/ 1253 h 1751"/>
                <a:gd name="T30" fmla="*/ 708 w 1750"/>
                <a:gd name="T31" fmla="*/ 1304 h 1751"/>
                <a:gd name="T32" fmla="*/ 817 w 1750"/>
                <a:gd name="T33" fmla="*/ 1332 h 1751"/>
                <a:gd name="T34" fmla="*/ 933 w 1750"/>
                <a:gd name="T35" fmla="*/ 1332 h 1751"/>
                <a:gd name="T36" fmla="*/ 1041 w 1750"/>
                <a:gd name="T37" fmla="*/ 1304 h 1751"/>
                <a:gd name="T38" fmla="*/ 1137 w 1750"/>
                <a:gd name="T39" fmla="*/ 1253 h 1751"/>
                <a:gd name="T40" fmla="*/ 1218 w 1750"/>
                <a:gd name="T41" fmla="*/ 1181 h 1751"/>
                <a:gd name="T42" fmla="*/ 1281 w 1750"/>
                <a:gd name="T43" fmla="*/ 1092 h 1751"/>
                <a:gd name="T44" fmla="*/ 1321 w 1750"/>
                <a:gd name="T45" fmla="*/ 989 h 1751"/>
                <a:gd name="T46" fmla="*/ 1334 w 1750"/>
                <a:gd name="T47" fmla="*/ 876 h 1751"/>
                <a:gd name="T48" fmla="*/ 1662 w 1750"/>
                <a:gd name="T49" fmla="*/ 513 h 1751"/>
                <a:gd name="T50" fmla="*/ 1696 w 1750"/>
                <a:gd name="T51" fmla="*/ 575 h 1751"/>
                <a:gd name="T52" fmla="*/ 1736 w 1750"/>
                <a:gd name="T53" fmla="*/ 721 h 1751"/>
                <a:gd name="T54" fmla="*/ 1750 w 1750"/>
                <a:gd name="T55" fmla="*/ 876 h 1751"/>
                <a:gd name="T56" fmla="*/ 1736 w 1750"/>
                <a:gd name="T57" fmla="*/ 1033 h 1751"/>
                <a:gd name="T58" fmla="*/ 1695 w 1750"/>
                <a:gd name="T59" fmla="*/ 1182 h 1751"/>
                <a:gd name="T60" fmla="*/ 1630 w 1750"/>
                <a:gd name="T61" fmla="*/ 1318 h 1751"/>
                <a:gd name="T62" fmla="*/ 1545 w 1750"/>
                <a:gd name="T63" fmla="*/ 1440 h 1751"/>
                <a:gd name="T64" fmla="*/ 1439 w 1750"/>
                <a:gd name="T65" fmla="*/ 1546 h 1751"/>
                <a:gd name="T66" fmla="*/ 1317 w 1750"/>
                <a:gd name="T67" fmla="*/ 1632 h 1751"/>
                <a:gd name="T68" fmla="*/ 1180 w 1750"/>
                <a:gd name="T69" fmla="*/ 1697 h 1751"/>
                <a:gd name="T70" fmla="*/ 1032 w 1750"/>
                <a:gd name="T71" fmla="*/ 1737 h 1751"/>
                <a:gd name="T72" fmla="*/ 875 w 1750"/>
                <a:gd name="T73" fmla="*/ 1751 h 1751"/>
                <a:gd name="T74" fmla="*/ 718 w 1750"/>
                <a:gd name="T75" fmla="*/ 1737 h 1751"/>
                <a:gd name="T76" fmla="*/ 570 w 1750"/>
                <a:gd name="T77" fmla="*/ 1696 h 1751"/>
                <a:gd name="T78" fmla="*/ 433 w 1750"/>
                <a:gd name="T79" fmla="*/ 1632 h 1751"/>
                <a:gd name="T80" fmla="*/ 312 w 1750"/>
                <a:gd name="T81" fmla="*/ 1546 h 1751"/>
                <a:gd name="T82" fmla="*/ 206 w 1750"/>
                <a:gd name="T83" fmla="*/ 1440 h 1751"/>
                <a:gd name="T84" fmla="*/ 120 w 1750"/>
                <a:gd name="T85" fmla="*/ 1318 h 1751"/>
                <a:gd name="T86" fmla="*/ 55 w 1750"/>
                <a:gd name="T87" fmla="*/ 1181 h 1751"/>
                <a:gd name="T88" fmla="*/ 14 w 1750"/>
                <a:gd name="T89" fmla="*/ 1033 h 1751"/>
                <a:gd name="T90" fmla="*/ 0 w 1750"/>
                <a:gd name="T91" fmla="*/ 876 h 1751"/>
                <a:gd name="T92" fmla="*/ 14 w 1750"/>
                <a:gd name="T93" fmla="*/ 718 h 1751"/>
                <a:gd name="T94" fmla="*/ 55 w 1750"/>
                <a:gd name="T95" fmla="*/ 571 h 1751"/>
                <a:gd name="T96" fmla="*/ 120 w 1750"/>
                <a:gd name="T97" fmla="*/ 434 h 1751"/>
                <a:gd name="T98" fmla="*/ 206 w 1750"/>
                <a:gd name="T99" fmla="*/ 311 h 1751"/>
                <a:gd name="T100" fmla="*/ 312 w 1750"/>
                <a:gd name="T101" fmla="*/ 207 h 1751"/>
                <a:gd name="T102" fmla="*/ 433 w 1750"/>
                <a:gd name="T103" fmla="*/ 120 h 1751"/>
                <a:gd name="T104" fmla="*/ 570 w 1750"/>
                <a:gd name="T105" fmla="*/ 55 h 1751"/>
                <a:gd name="T106" fmla="*/ 718 w 1750"/>
                <a:gd name="T107" fmla="*/ 15 h 1751"/>
                <a:gd name="T108" fmla="*/ 875 w 1750"/>
                <a:gd name="T109" fmla="*/ 0 h 1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50" h="1751">
                  <a:moveTo>
                    <a:pt x="875" y="0"/>
                  </a:moveTo>
                  <a:lnTo>
                    <a:pt x="954" y="4"/>
                  </a:lnTo>
                  <a:lnTo>
                    <a:pt x="1030" y="15"/>
                  </a:lnTo>
                  <a:lnTo>
                    <a:pt x="1104" y="31"/>
                  </a:lnTo>
                  <a:lnTo>
                    <a:pt x="1176" y="54"/>
                  </a:lnTo>
                  <a:lnTo>
                    <a:pt x="1245" y="83"/>
                  </a:lnTo>
                  <a:lnTo>
                    <a:pt x="1238" y="90"/>
                  </a:lnTo>
                  <a:lnTo>
                    <a:pt x="910" y="418"/>
                  </a:lnTo>
                  <a:lnTo>
                    <a:pt x="875" y="417"/>
                  </a:lnTo>
                  <a:lnTo>
                    <a:pt x="817" y="421"/>
                  </a:lnTo>
                  <a:lnTo>
                    <a:pt x="762" y="431"/>
                  </a:lnTo>
                  <a:lnTo>
                    <a:pt x="709" y="448"/>
                  </a:lnTo>
                  <a:lnTo>
                    <a:pt x="659" y="471"/>
                  </a:lnTo>
                  <a:lnTo>
                    <a:pt x="613" y="499"/>
                  </a:lnTo>
                  <a:lnTo>
                    <a:pt x="570" y="532"/>
                  </a:lnTo>
                  <a:lnTo>
                    <a:pt x="532" y="571"/>
                  </a:lnTo>
                  <a:lnTo>
                    <a:pt x="498" y="614"/>
                  </a:lnTo>
                  <a:lnTo>
                    <a:pt x="469" y="661"/>
                  </a:lnTo>
                  <a:lnTo>
                    <a:pt x="446" y="710"/>
                  </a:lnTo>
                  <a:lnTo>
                    <a:pt x="430" y="763"/>
                  </a:lnTo>
                  <a:lnTo>
                    <a:pt x="420" y="818"/>
                  </a:lnTo>
                  <a:lnTo>
                    <a:pt x="416" y="876"/>
                  </a:lnTo>
                  <a:lnTo>
                    <a:pt x="420" y="933"/>
                  </a:lnTo>
                  <a:lnTo>
                    <a:pt x="430" y="989"/>
                  </a:lnTo>
                  <a:lnTo>
                    <a:pt x="446" y="1043"/>
                  </a:lnTo>
                  <a:lnTo>
                    <a:pt x="469" y="1092"/>
                  </a:lnTo>
                  <a:lnTo>
                    <a:pt x="498" y="1139"/>
                  </a:lnTo>
                  <a:lnTo>
                    <a:pt x="532" y="1181"/>
                  </a:lnTo>
                  <a:lnTo>
                    <a:pt x="570" y="1219"/>
                  </a:lnTo>
                  <a:lnTo>
                    <a:pt x="612" y="1253"/>
                  </a:lnTo>
                  <a:lnTo>
                    <a:pt x="659" y="1282"/>
                  </a:lnTo>
                  <a:lnTo>
                    <a:pt x="708" y="1304"/>
                  </a:lnTo>
                  <a:lnTo>
                    <a:pt x="762" y="1321"/>
                  </a:lnTo>
                  <a:lnTo>
                    <a:pt x="817" y="1332"/>
                  </a:lnTo>
                  <a:lnTo>
                    <a:pt x="875" y="1336"/>
                  </a:lnTo>
                  <a:lnTo>
                    <a:pt x="933" y="1332"/>
                  </a:lnTo>
                  <a:lnTo>
                    <a:pt x="988" y="1321"/>
                  </a:lnTo>
                  <a:lnTo>
                    <a:pt x="1041" y="1304"/>
                  </a:lnTo>
                  <a:lnTo>
                    <a:pt x="1091" y="1282"/>
                  </a:lnTo>
                  <a:lnTo>
                    <a:pt x="1137" y="1253"/>
                  </a:lnTo>
                  <a:lnTo>
                    <a:pt x="1180" y="1219"/>
                  </a:lnTo>
                  <a:lnTo>
                    <a:pt x="1218" y="1181"/>
                  </a:lnTo>
                  <a:lnTo>
                    <a:pt x="1252" y="1139"/>
                  </a:lnTo>
                  <a:lnTo>
                    <a:pt x="1281" y="1092"/>
                  </a:lnTo>
                  <a:lnTo>
                    <a:pt x="1304" y="1043"/>
                  </a:lnTo>
                  <a:lnTo>
                    <a:pt x="1321" y="989"/>
                  </a:lnTo>
                  <a:lnTo>
                    <a:pt x="1330" y="933"/>
                  </a:lnTo>
                  <a:lnTo>
                    <a:pt x="1334" y="876"/>
                  </a:lnTo>
                  <a:lnTo>
                    <a:pt x="1333" y="841"/>
                  </a:lnTo>
                  <a:lnTo>
                    <a:pt x="1662" y="513"/>
                  </a:lnTo>
                  <a:lnTo>
                    <a:pt x="1668" y="506"/>
                  </a:lnTo>
                  <a:lnTo>
                    <a:pt x="1696" y="575"/>
                  </a:lnTo>
                  <a:lnTo>
                    <a:pt x="1720" y="646"/>
                  </a:lnTo>
                  <a:lnTo>
                    <a:pt x="1736" y="721"/>
                  </a:lnTo>
                  <a:lnTo>
                    <a:pt x="1747" y="798"/>
                  </a:lnTo>
                  <a:lnTo>
                    <a:pt x="1750" y="876"/>
                  </a:lnTo>
                  <a:lnTo>
                    <a:pt x="1747" y="956"/>
                  </a:lnTo>
                  <a:lnTo>
                    <a:pt x="1736" y="1033"/>
                  </a:lnTo>
                  <a:lnTo>
                    <a:pt x="1719" y="1109"/>
                  </a:lnTo>
                  <a:lnTo>
                    <a:pt x="1695" y="1182"/>
                  </a:lnTo>
                  <a:lnTo>
                    <a:pt x="1666" y="1252"/>
                  </a:lnTo>
                  <a:lnTo>
                    <a:pt x="1630" y="1318"/>
                  </a:lnTo>
                  <a:lnTo>
                    <a:pt x="1591" y="1381"/>
                  </a:lnTo>
                  <a:lnTo>
                    <a:pt x="1545" y="1440"/>
                  </a:lnTo>
                  <a:lnTo>
                    <a:pt x="1493" y="1495"/>
                  </a:lnTo>
                  <a:lnTo>
                    <a:pt x="1439" y="1546"/>
                  </a:lnTo>
                  <a:lnTo>
                    <a:pt x="1379" y="1591"/>
                  </a:lnTo>
                  <a:lnTo>
                    <a:pt x="1317" y="1632"/>
                  </a:lnTo>
                  <a:lnTo>
                    <a:pt x="1251" y="1667"/>
                  </a:lnTo>
                  <a:lnTo>
                    <a:pt x="1180" y="1697"/>
                  </a:lnTo>
                  <a:lnTo>
                    <a:pt x="1108" y="1720"/>
                  </a:lnTo>
                  <a:lnTo>
                    <a:pt x="1032" y="1737"/>
                  </a:lnTo>
                  <a:lnTo>
                    <a:pt x="954" y="1748"/>
                  </a:lnTo>
                  <a:lnTo>
                    <a:pt x="875" y="1751"/>
                  </a:lnTo>
                  <a:lnTo>
                    <a:pt x="796" y="1748"/>
                  </a:lnTo>
                  <a:lnTo>
                    <a:pt x="718" y="1737"/>
                  </a:lnTo>
                  <a:lnTo>
                    <a:pt x="642" y="1720"/>
                  </a:lnTo>
                  <a:lnTo>
                    <a:pt x="570" y="1696"/>
                  </a:lnTo>
                  <a:lnTo>
                    <a:pt x="500" y="1667"/>
                  </a:lnTo>
                  <a:lnTo>
                    <a:pt x="433" y="1632"/>
                  </a:lnTo>
                  <a:lnTo>
                    <a:pt x="371" y="1591"/>
                  </a:lnTo>
                  <a:lnTo>
                    <a:pt x="312" y="1546"/>
                  </a:lnTo>
                  <a:lnTo>
                    <a:pt x="257" y="1495"/>
                  </a:lnTo>
                  <a:lnTo>
                    <a:pt x="206" y="1440"/>
                  </a:lnTo>
                  <a:lnTo>
                    <a:pt x="161" y="1380"/>
                  </a:lnTo>
                  <a:lnTo>
                    <a:pt x="120" y="1318"/>
                  </a:lnTo>
                  <a:lnTo>
                    <a:pt x="85" y="1252"/>
                  </a:lnTo>
                  <a:lnTo>
                    <a:pt x="55" y="1181"/>
                  </a:lnTo>
                  <a:lnTo>
                    <a:pt x="31" y="1109"/>
                  </a:lnTo>
                  <a:lnTo>
                    <a:pt x="14" y="1033"/>
                  </a:lnTo>
                  <a:lnTo>
                    <a:pt x="3" y="955"/>
                  </a:lnTo>
                  <a:lnTo>
                    <a:pt x="0" y="876"/>
                  </a:lnTo>
                  <a:lnTo>
                    <a:pt x="3" y="796"/>
                  </a:lnTo>
                  <a:lnTo>
                    <a:pt x="14" y="718"/>
                  </a:lnTo>
                  <a:lnTo>
                    <a:pt x="31" y="643"/>
                  </a:lnTo>
                  <a:lnTo>
                    <a:pt x="55" y="571"/>
                  </a:lnTo>
                  <a:lnTo>
                    <a:pt x="85" y="501"/>
                  </a:lnTo>
                  <a:lnTo>
                    <a:pt x="120" y="434"/>
                  </a:lnTo>
                  <a:lnTo>
                    <a:pt x="161" y="371"/>
                  </a:lnTo>
                  <a:lnTo>
                    <a:pt x="206" y="311"/>
                  </a:lnTo>
                  <a:lnTo>
                    <a:pt x="257" y="257"/>
                  </a:lnTo>
                  <a:lnTo>
                    <a:pt x="312" y="207"/>
                  </a:lnTo>
                  <a:lnTo>
                    <a:pt x="371" y="161"/>
                  </a:lnTo>
                  <a:lnTo>
                    <a:pt x="433" y="120"/>
                  </a:lnTo>
                  <a:lnTo>
                    <a:pt x="500" y="84"/>
                  </a:lnTo>
                  <a:lnTo>
                    <a:pt x="570" y="55"/>
                  </a:lnTo>
                  <a:lnTo>
                    <a:pt x="642" y="31"/>
                  </a:lnTo>
                  <a:lnTo>
                    <a:pt x="718" y="15"/>
                  </a:lnTo>
                  <a:lnTo>
                    <a:pt x="796" y="4"/>
                  </a:lnTo>
                  <a:lnTo>
                    <a:pt x="87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30" name="Freeform 127">
              <a:extLst>
                <a:ext uri="{FF2B5EF4-FFF2-40B4-BE49-F238E27FC236}">
                  <a16:creationId xmlns:a16="http://schemas.microsoft.com/office/drawing/2014/main" id="{9A09AC40-EA41-CBEF-5805-AD37D2D9260F}"/>
                </a:ext>
              </a:extLst>
            </p:cNvPr>
            <p:cNvSpPr>
              <a:spLocks/>
            </p:cNvSpPr>
            <p:nvPr/>
          </p:nvSpPr>
          <p:spPr bwMode="auto">
            <a:xfrm>
              <a:off x="-1349375" y="3246438"/>
              <a:ext cx="1139825" cy="1146175"/>
            </a:xfrm>
            <a:custGeom>
              <a:avLst/>
              <a:gdLst>
                <a:gd name="T0" fmla="*/ 1509 w 2153"/>
                <a:gd name="T1" fmla="*/ 1 h 2166"/>
                <a:gd name="T2" fmla="*/ 1530 w 2153"/>
                <a:gd name="T3" fmla="*/ 14 h 2166"/>
                <a:gd name="T4" fmla="*/ 1539 w 2153"/>
                <a:gd name="T5" fmla="*/ 37 h 2166"/>
                <a:gd name="T6" fmla="*/ 1685 w 2153"/>
                <a:gd name="T7" fmla="*/ 239 h 2166"/>
                <a:gd name="T8" fmla="*/ 1726 w 2153"/>
                <a:gd name="T9" fmla="*/ 211 h 2166"/>
                <a:gd name="T10" fmla="*/ 1771 w 2153"/>
                <a:gd name="T11" fmla="*/ 203 h 2166"/>
                <a:gd name="T12" fmla="*/ 1818 w 2153"/>
                <a:gd name="T13" fmla="*/ 211 h 2166"/>
                <a:gd name="T14" fmla="*/ 1859 w 2153"/>
                <a:gd name="T15" fmla="*/ 239 h 2166"/>
                <a:gd name="T16" fmla="*/ 1949 w 2153"/>
                <a:gd name="T17" fmla="*/ 333 h 2166"/>
                <a:gd name="T18" fmla="*/ 1967 w 2153"/>
                <a:gd name="T19" fmla="*/ 385 h 2166"/>
                <a:gd name="T20" fmla="*/ 1961 w 2153"/>
                <a:gd name="T21" fmla="*/ 438 h 2166"/>
                <a:gd name="T22" fmla="*/ 1931 w 2153"/>
                <a:gd name="T23" fmla="*/ 486 h 2166"/>
                <a:gd name="T24" fmla="*/ 2115 w 2153"/>
                <a:gd name="T25" fmla="*/ 613 h 2166"/>
                <a:gd name="T26" fmla="*/ 2140 w 2153"/>
                <a:gd name="T27" fmla="*/ 624 h 2166"/>
                <a:gd name="T28" fmla="*/ 2152 w 2153"/>
                <a:gd name="T29" fmla="*/ 647 h 2166"/>
                <a:gd name="T30" fmla="*/ 2149 w 2153"/>
                <a:gd name="T31" fmla="*/ 672 h 2166"/>
                <a:gd name="T32" fmla="*/ 1666 w 2153"/>
                <a:gd name="T33" fmla="*/ 1158 h 2166"/>
                <a:gd name="T34" fmla="*/ 1613 w 2153"/>
                <a:gd name="T35" fmla="*/ 1197 h 2166"/>
                <a:gd name="T36" fmla="*/ 1551 w 2153"/>
                <a:gd name="T37" fmla="*/ 1216 h 2166"/>
                <a:gd name="T38" fmla="*/ 1512 w 2153"/>
                <a:gd name="T39" fmla="*/ 1219 h 2166"/>
                <a:gd name="T40" fmla="*/ 1491 w 2153"/>
                <a:gd name="T41" fmla="*/ 1217 h 2166"/>
                <a:gd name="T42" fmla="*/ 286 w 2153"/>
                <a:gd name="T43" fmla="*/ 2131 h 2166"/>
                <a:gd name="T44" fmla="*/ 244 w 2153"/>
                <a:gd name="T45" fmla="*/ 2156 h 2166"/>
                <a:gd name="T46" fmla="*/ 108 w 2153"/>
                <a:gd name="T47" fmla="*/ 2166 h 2166"/>
                <a:gd name="T48" fmla="*/ 78 w 2153"/>
                <a:gd name="T49" fmla="*/ 2164 h 2166"/>
                <a:gd name="T50" fmla="*/ 35 w 2153"/>
                <a:gd name="T51" fmla="*/ 2142 h 2166"/>
                <a:gd name="T52" fmla="*/ 7 w 2153"/>
                <a:gd name="T53" fmla="*/ 2104 h 2166"/>
                <a:gd name="T54" fmla="*/ 0 w 2153"/>
                <a:gd name="T55" fmla="*/ 2054 h 2166"/>
                <a:gd name="T56" fmla="*/ 12 w 2153"/>
                <a:gd name="T57" fmla="*/ 1926 h 2166"/>
                <a:gd name="T58" fmla="*/ 37 w 2153"/>
                <a:gd name="T59" fmla="*/ 1885 h 2166"/>
                <a:gd name="T60" fmla="*/ 470 w 2153"/>
                <a:gd name="T61" fmla="*/ 1453 h 2166"/>
                <a:gd name="T62" fmla="*/ 785 w 2153"/>
                <a:gd name="T63" fmla="*/ 1137 h 2166"/>
                <a:gd name="T64" fmla="*/ 934 w 2153"/>
                <a:gd name="T65" fmla="*/ 667 h 2166"/>
                <a:gd name="T66" fmla="*/ 934 w 2153"/>
                <a:gd name="T67" fmla="*/ 613 h 2166"/>
                <a:gd name="T68" fmla="*/ 952 w 2153"/>
                <a:gd name="T69" fmla="*/ 545 h 2166"/>
                <a:gd name="T70" fmla="*/ 994 w 2153"/>
                <a:gd name="T71" fmla="*/ 486 h 2166"/>
                <a:gd name="T72" fmla="*/ 1478 w 2153"/>
                <a:gd name="T73" fmla="*/ 4 h 2166"/>
                <a:gd name="T74" fmla="*/ 1497 w 2153"/>
                <a:gd name="T75" fmla="*/ 0 h 2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53" h="2166">
                  <a:moveTo>
                    <a:pt x="1497" y="0"/>
                  </a:moveTo>
                  <a:lnTo>
                    <a:pt x="1509" y="1"/>
                  </a:lnTo>
                  <a:lnTo>
                    <a:pt x="1520" y="6"/>
                  </a:lnTo>
                  <a:lnTo>
                    <a:pt x="1530" y="14"/>
                  </a:lnTo>
                  <a:lnTo>
                    <a:pt x="1536" y="25"/>
                  </a:lnTo>
                  <a:lnTo>
                    <a:pt x="1539" y="37"/>
                  </a:lnTo>
                  <a:lnTo>
                    <a:pt x="1565" y="359"/>
                  </a:lnTo>
                  <a:lnTo>
                    <a:pt x="1685" y="239"/>
                  </a:lnTo>
                  <a:lnTo>
                    <a:pt x="1704" y="222"/>
                  </a:lnTo>
                  <a:lnTo>
                    <a:pt x="1726" y="211"/>
                  </a:lnTo>
                  <a:lnTo>
                    <a:pt x="1748" y="204"/>
                  </a:lnTo>
                  <a:lnTo>
                    <a:pt x="1771" y="203"/>
                  </a:lnTo>
                  <a:lnTo>
                    <a:pt x="1795" y="204"/>
                  </a:lnTo>
                  <a:lnTo>
                    <a:pt x="1818" y="211"/>
                  </a:lnTo>
                  <a:lnTo>
                    <a:pt x="1840" y="222"/>
                  </a:lnTo>
                  <a:lnTo>
                    <a:pt x="1859" y="239"/>
                  </a:lnTo>
                  <a:lnTo>
                    <a:pt x="1931" y="312"/>
                  </a:lnTo>
                  <a:lnTo>
                    <a:pt x="1949" y="333"/>
                  </a:lnTo>
                  <a:lnTo>
                    <a:pt x="1961" y="359"/>
                  </a:lnTo>
                  <a:lnTo>
                    <a:pt x="1967" y="385"/>
                  </a:lnTo>
                  <a:lnTo>
                    <a:pt x="1967" y="412"/>
                  </a:lnTo>
                  <a:lnTo>
                    <a:pt x="1961" y="438"/>
                  </a:lnTo>
                  <a:lnTo>
                    <a:pt x="1949" y="463"/>
                  </a:lnTo>
                  <a:lnTo>
                    <a:pt x="1931" y="486"/>
                  </a:lnTo>
                  <a:lnTo>
                    <a:pt x="1826" y="590"/>
                  </a:lnTo>
                  <a:lnTo>
                    <a:pt x="2115" y="613"/>
                  </a:lnTo>
                  <a:lnTo>
                    <a:pt x="2128" y="617"/>
                  </a:lnTo>
                  <a:lnTo>
                    <a:pt x="2140" y="624"/>
                  </a:lnTo>
                  <a:lnTo>
                    <a:pt x="2147" y="634"/>
                  </a:lnTo>
                  <a:lnTo>
                    <a:pt x="2152" y="647"/>
                  </a:lnTo>
                  <a:lnTo>
                    <a:pt x="2153" y="659"/>
                  </a:lnTo>
                  <a:lnTo>
                    <a:pt x="2149" y="672"/>
                  </a:lnTo>
                  <a:lnTo>
                    <a:pt x="2141" y="684"/>
                  </a:lnTo>
                  <a:lnTo>
                    <a:pt x="1666" y="1158"/>
                  </a:lnTo>
                  <a:lnTo>
                    <a:pt x="1640" y="1180"/>
                  </a:lnTo>
                  <a:lnTo>
                    <a:pt x="1613" y="1197"/>
                  </a:lnTo>
                  <a:lnTo>
                    <a:pt x="1583" y="1209"/>
                  </a:lnTo>
                  <a:lnTo>
                    <a:pt x="1551" y="1216"/>
                  </a:lnTo>
                  <a:lnTo>
                    <a:pt x="1519" y="1220"/>
                  </a:lnTo>
                  <a:lnTo>
                    <a:pt x="1512" y="1219"/>
                  </a:lnTo>
                  <a:lnTo>
                    <a:pt x="1503" y="1219"/>
                  </a:lnTo>
                  <a:lnTo>
                    <a:pt x="1491" y="1217"/>
                  </a:lnTo>
                  <a:lnTo>
                    <a:pt x="1220" y="1197"/>
                  </a:lnTo>
                  <a:lnTo>
                    <a:pt x="286" y="2131"/>
                  </a:lnTo>
                  <a:lnTo>
                    <a:pt x="267" y="2147"/>
                  </a:lnTo>
                  <a:lnTo>
                    <a:pt x="244" y="2156"/>
                  </a:lnTo>
                  <a:lnTo>
                    <a:pt x="219" y="2161"/>
                  </a:lnTo>
                  <a:lnTo>
                    <a:pt x="108" y="2166"/>
                  </a:lnTo>
                  <a:lnTo>
                    <a:pt x="103" y="2166"/>
                  </a:lnTo>
                  <a:lnTo>
                    <a:pt x="78" y="2164"/>
                  </a:lnTo>
                  <a:lnTo>
                    <a:pt x="55" y="2155"/>
                  </a:lnTo>
                  <a:lnTo>
                    <a:pt x="35" y="2142"/>
                  </a:lnTo>
                  <a:lnTo>
                    <a:pt x="19" y="2124"/>
                  </a:lnTo>
                  <a:lnTo>
                    <a:pt x="7" y="2104"/>
                  </a:lnTo>
                  <a:lnTo>
                    <a:pt x="0" y="2080"/>
                  </a:lnTo>
                  <a:lnTo>
                    <a:pt x="0" y="2054"/>
                  </a:lnTo>
                  <a:lnTo>
                    <a:pt x="8" y="1950"/>
                  </a:lnTo>
                  <a:lnTo>
                    <a:pt x="12" y="1926"/>
                  </a:lnTo>
                  <a:lnTo>
                    <a:pt x="23" y="1904"/>
                  </a:lnTo>
                  <a:lnTo>
                    <a:pt x="37" y="1885"/>
                  </a:lnTo>
                  <a:lnTo>
                    <a:pt x="171" y="1753"/>
                  </a:lnTo>
                  <a:lnTo>
                    <a:pt x="470" y="1453"/>
                  </a:lnTo>
                  <a:lnTo>
                    <a:pt x="477" y="1447"/>
                  </a:lnTo>
                  <a:lnTo>
                    <a:pt x="785" y="1137"/>
                  </a:lnTo>
                  <a:lnTo>
                    <a:pt x="957" y="965"/>
                  </a:lnTo>
                  <a:lnTo>
                    <a:pt x="934" y="667"/>
                  </a:lnTo>
                  <a:lnTo>
                    <a:pt x="933" y="649"/>
                  </a:lnTo>
                  <a:lnTo>
                    <a:pt x="934" y="613"/>
                  </a:lnTo>
                  <a:lnTo>
                    <a:pt x="940" y="578"/>
                  </a:lnTo>
                  <a:lnTo>
                    <a:pt x="952" y="545"/>
                  </a:lnTo>
                  <a:lnTo>
                    <a:pt x="970" y="514"/>
                  </a:lnTo>
                  <a:lnTo>
                    <a:pt x="994" y="486"/>
                  </a:lnTo>
                  <a:lnTo>
                    <a:pt x="1469" y="12"/>
                  </a:lnTo>
                  <a:lnTo>
                    <a:pt x="1478" y="4"/>
                  </a:lnTo>
                  <a:lnTo>
                    <a:pt x="1488" y="1"/>
                  </a:lnTo>
                  <a:lnTo>
                    <a:pt x="149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pic>
        <p:nvPicPr>
          <p:cNvPr id="1026" name="Picture 2">
            <a:extLst>
              <a:ext uri="{FF2B5EF4-FFF2-40B4-BE49-F238E27FC236}">
                <a16:creationId xmlns:a16="http://schemas.microsoft.com/office/drawing/2014/main" id="{7261C6A0-DCB9-B714-22E1-AA61FF7AF38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32601" y="1972733"/>
            <a:ext cx="749298" cy="74929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1B5C8157-3AB6-1C51-0E88-E935A696FFE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3888" t="50370" r="44000" b="16667"/>
          <a:stretch/>
        </p:blipFill>
        <p:spPr bwMode="auto">
          <a:xfrm>
            <a:off x="6252633" y="4762500"/>
            <a:ext cx="549573" cy="448734"/>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BB92BBB7-EE5C-D96F-EEDA-FE9D1E179E6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0048" t="28518" r="21403" b="28889"/>
          <a:stretch/>
        </p:blipFill>
        <p:spPr bwMode="auto">
          <a:xfrm>
            <a:off x="4813301" y="4313766"/>
            <a:ext cx="330477" cy="444502"/>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71F3A4FD-2D1B-1B06-3540-90F3B2AC111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4352" t="50556" r="74676" b="2222"/>
          <a:stretch/>
        </p:blipFill>
        <p:spPr bwMode="auto">
          <a:xfrm>
            <a:off x="4351865" y="3526367"/>
            <a:ext cx="507551" cy="546099"/>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a:extLst>
              <a:ext uri="{FF2B5EF4-FFF2-40B4-BE49-F238E27FC236}">
                <a16:creationId xmlns:a16="http://schemas.microsoft.com/office/drawing/2014/main" id="{ED86318A-FD3F-7D76-E1F6-8279BAAAE9D4}"/>
              </a:ext>
            </a:extLst>
          </p:cNvPr>
          <p:cNvPicPr>
            <a:picLocks noChangeAspect="1" noChangeArrowheads="1"/>
          </p:cNvPicPr>
          <p:nvPr/>
        </p:nvPicPr>
        <p:blipFill rotWithShape="1">
          <a:blip r:embed="rId7">
            <a:extLst>
              <a:ext uri="{BEBA8EAE-BF5A-486C-A8C5-ECC9F3942E4B}">
                <a14:imgProps xmlns:a14="http://schemas.microsoft.com/office/drawing/2010/main">
                  <a14:imgLayer r:embed="rId8">
                    <a14:imgEffect>
                      <a14:artisticMarker/>
                    </a14:imgEffect>
                  </a14:imgLayer>
                </a14:imgProps>
              </a:ext>
              <a:ext uri="{28A0092B-C50C-407E-A947-70E740481C1C}">
                <a14:useLocalDpi xmlns:a14="http://schemas.microsoft.com/office/drawing/2010/main" val="0"/>
              </a:ext>
            </a:extLst>
          </a:blip>
          <a:srcRect l="22641" t="18397" r="24528" b="22170"/>
          <a:stretch/>
        </p:blipFill>
        <p:spPr bwMode="auto">
          <a:xfrm>
            <a:off x="4779433" y="2048933"/>
            <a:ext cx="474134" cy="533400"/>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a:extLst>
              <a:ext uri="{FF2B5EF4-FFF2-40B4-BE49-F238E27FC236}">
                <a16:creationId xmlns:a16="http://schemas.microsoft.com/office/drawing/2014/main" id="{69E501F7-66CE-04EB-E9CE-7A0354E9ADC6}"/>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5682" t="52593" r="87946" b="18333"/>
          <a:stretch/>
        </p:blipFill>
        <p:spPr bwMode="auto">
          <a:xfrm>
            <a:off x="7366001" y="2688167"/>
            <a:ext cx="508000" cy="664634"/>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descr="Logo&#10;&#10;Description automatically generated">
            <a:extLst>
              <a:ext uri="{FF2B5EF4-FFF2-40B4-BE49-F238E27FC236}">
                <a16:creationId xmlns:a16="http://schemas.microsoft.com/office/drawing/2014/main" id="{7B8462F9-F2D1-E4DA-44BF-BE4633F5DD7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143850" y="2984501"/>
            <a:ext cx="1929293" cy="449044"/>
          </a:xfrm>
          <a:prstGeom prst="rect">
            <a:avLst/>
          </a:prstGeom>
        </p:spPr>
      </p:pic>
      <p:sp>
        <p:nvSpPr>
          <p:cNvPr id="34" name="TextBox 33">
            <a:extLst>
              <a:ext uri="{FF2B5EF4-FFF2-40B4-BE49-F238E27FC236}">
                <a16:creationId xmlns:a16="http://schemas.microsoft.com/office/drawing/2014/main" id="{7E1DD836-4645-FE4D-CCFF-50FDC61D451E}"/>
              </a:ext>
            </a:extLst>
          </p:cNvPr>
          <p:cNvSpPr txBox="1"/>
          <p:nvPr/>
        </p:nvSpPr>
        <p:spPr>
          <a:xfrm>
            <a:off x="4876800" y="3433233"/>
            <a:ext cx="2468034" cy="6001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rPr>
              <a:t>Gain a competitive edge using the best tools and techniques to build a better you .</a:t>
            </a:r>
          </a:p>
        </p:txBody>
      </p:sp>
    </p:spTree>
    <p:extLst>
      <p:ext uri="{BB962C8B-B14F-4D97-AF65-F5344CB8AC3E}">
        <p14:creationId xmlns:p14="http://schemas.microsoft.com/office/powerpoint/2010/main" val="243440075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77">
            <a:extLst>
              <a:ext uri="{FF2B5EF4-FFF2-40B4-BE49-F238E27FC236}">
                <a16:creationId xmlns:a16="http://schemas.microsoft.com/office/drawing/2014/main" id="{4170A73A-5244-49BF-886D-82D4FFFFF501}"/>
              </a:ext>
            </a:extLst>
          </p:cNvPr>
          <p:cNvGrpSpPr/>
          <p:nvPr/>
        </p:nvGrpSpPr>
        <p:grpSpPr>
          <a:xfrm>
            <a:off x="324205" y="3402664"/>
            <a:ext cx="1477380" cy="663188"/>
            <a:chOff x="7549376" y="228600"/>
            <a:chExt cx="1477380" cy="663188"/>
          </a:xfrm>
        </p:grpSpPr>
        <p:sp>
          <p:nvSpPr>
            <p:cNvPr id="10" name="Rectangle 87">
              <a:extLst>
                <a:ext uri="{FF2B5EF4-FFF2-40B4-BE49-F238E27FC236}">
                  <a16:creationId xmlns:a16="http://schemas.microsoft.com/office/drawing/2014/main" id="{BD1A52B7-A362-41E3-9906-5C725DE00CC8}"/>
                </a:ext>
              </a:extLst>
            </p:cNvPr>
            <p:cNvSpPr>
              <a:spLocks noChangeArrowheads="1"/>
            </p:cNvSpPr>
            <p:nvPr>
              <p:custDataLst>
                <p:tags r:id="rId1"/>
              </p:custDataLst>
            </p:nvPr>
          </p:nvSpPr>
          <p:spPr bwMode="gray">
            <a:xfrm>
              <a:off x="7866294" y="228600"/>
              <a:ext cx="1100137" cy="138499"/>
            </a:xfrm>
            <a:prstGeom prst="rect">
              <a:avLst/>
            </a:prstGeom>
            <a:noFill/>
            <a:ln w="9525">
              <a:noFill/>
              <a:miter lim="800000"/>
              <a:headEnd/>
              <a:tailEnd/>
            </a:ln>
          </p:spPr>
          <p:txBody>
            <a:bodyPr lIns="0" tIns="0" rIns="0" bIns="0">
              <a:spAutoFit/>
            </a:bodyPr>
            <a:lstStyle/>
            <a:p>
              <a:pPr marL="0" marR="0" lvl="0" indent="0" algn="l" defTabSz="912813" rtl="0" eaLnBrk="1" fontAlgn="auto" latinLnBrk="0" hangingPunct="1">
                <a:lnSpc>
                  <a:spcPct val="100000"/>
                </a:lnSpc>
                <a:spcBef>
                  <a:spcPts val="0"/>
                </a:spcBef>
                <a:spcAft>
                  <a:spcPts val="0"/>
                </a:spcAft>
                <a:buClr>
                  <a:srgbClr val="1F497D"/>
                </a:buClr>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Calibri" pitchFamily="34" charset="0"/>
                </a:rPr>
                <a:t>Competitive strength</a:t>
              </a:r>
            </a:p>
          </p:txBody>
        </p:sp>
        <p:sp>
          <p:nvSpPr>
            <p:cNvPr id="11" name="Rectangle 88">
              <a:extLst>
                <a:ext uri="{FF2B5EF4-FFF2-40B4-BE49-F238E27FC236}">
                  <a16:creationId xmlns:a16="http://schemas.microsoft.com/office/drawing/2014/main" id="{A859E695-BDDD-4F41-B8BC-0E07ED4FC8FE}"/>
                </a:ext>
              </a:extLst>
            </p:cNvPr>
            <p:cNvSpPr>
              <a:spLocks noChangeArrowheads="1"/>
            </p:cNvSpPr>
            <p:nvPr>
              <p:custDataLst>
                <p:tags r:id="rId2"/>
              </p:custDataLst>
            </p:nvPr>
          </p:nvSpPr>
          <p:spPr bwMode="gray">
            <a:xfrm>
              <a:off x="7866294" y="474278"/>
              <a:ext cx="1160462" cy="138499"/>
            </a:xfrm>
            <a:prstGeom prst="rect">
              <a:avLst/>
            </a:prstGeom>
            <a:noFill/>
            <a:ln w="9525">
              <a:noFill/>
              <a:miter lim="800000"/>
              <a:headEnd/>
              <a:tailEnd/>
            </a:ln>
          </p:spPr>
          <p:txBody>
            <a:bodyPr lIns="0" tIns="0" rIns="0" bIns="0">
              <a:spAutoFit/>
            </a:bodyPr>
            <a:lstStyle/>
            <a:p>
              <a:pPr marL="0" marR="0" lvl="0" indent="0" algn="l" defTabSz="912813" rtl="0" eaLnBrk="1" fontAlgn="auto" latinLnBrk="0" hangingPunct="1">
                <a:lnSpc>
                  <a:spcPct val="100000"/>
                </a:lnSpc>
                <a:spcBef>
                  <a:spcPts val="0"/>
                </a:spcBef>
                <a:spcAft>
                  <a:spcPts val="0"/>
                </a:spcAft>
                <a:buClr>
                  <a:srgbClr val="1F497D"/>
                </a:buClr>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Calibri" pitchFamily="34" charset="0"/>
                </a:rPr>
                <a:t>Competitive weakness</a:t>
              </a:r>
            </a:p>
          </p:txBody>
        </p:sp>
        <p:sp>
          <p:nvSpPr>
            <p:cNvPr id="12" name="Oval 61">
              <a:extLst>
                <a:ext uri="{FF2B5EF4-FFF2-40B4-BE49-F238E27FC236}">
                  <a16:creationId xmlns:a16="http://schemas.microsoft.com/office/drawing/2014/main" id="{832E2FE2-09D0-4D0B-A316-B22C38366D91}"/>
                </a:ext>
              </a:extLst>
            </p:cNvPr>
            <p:cNvSpPr>
              <a:spLocks noChangeAspect="1" noChangeArrowheads="1"/>
            </p:cNvSpPr>
            <p:nvPr/>
          </p:nvSpPr>
          <p:spPr bwMode="gray">
            <a:xfrm>
              <a:off x="7607185" y="246140"/>
              <a:ext cx="136525" cy="136525"/>
            </a:xfrm>
            <a:prstGeom prst="ellipse">
              <a:avLst/>
            </a:prstGeom>
            <a:solidFill>
              <a:srgbClr val="92D050"/>
            </a:solidFill>
            <a:ln w="9525" algn="ctr">
              <a:solidFill>
                <a:schemeClr val="tx1"/>
              </a:solidFill>
              <a:round/>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Oval 63">
              <a:extLst>
                <a:ext uri="{FF2B5EF4-FFF2-40B4-BE49-F238E27FC236}">
                  <a16:creationId xmlns:a16="http://schemas.microsoft.com/office/drawing/2014/main" id="{E6C3EC2D-1828-4C76-8AF4-88400231ED63}"/>
                </a:ext>
              </a:extLst>
            </p:cNvPr>
            <p:cNvSpPr>
              <a:spLocks noChangeAspect="1" noChangeArrowheads="1"/>
            </p:cNvSpPr>
            <p:nvPr/>
          </p:nvSpPr>
          <p:spPr bwMode="gray">
            <a:xfrm>
              <a:off x="7607185" y="475904"/>
              <a:ext cx="136525" cy="136525"/>
            </a:xfrm>
            <a:prstGeom prst="ellipse">
              <a:avLst/>
            </a:prstGeom>
            <a:solidFill>
              <a:srgbClr val="FF0000"/>
            </a:solidFill>
            <a:ln w="9525" algn="ctr">
              <a:solidFill>
                <a:schemeClr val="tx1"/>
              </a:solidFill>
              <a:round/>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14" name="Diagram 13">
              <a:extLst>
                <a:ext uri="{FF2B5EF4-FFF2-40B4-BE49-F238E27FC236}">
                  <a16:creationId xmlns:a16="http://schemas.microsoft.com/office/drawing/2014/main" id="{866AE6B8-161B-4202-9CFB-5C0FE2035698}"/>
                </a:ext>
              </a:extLst>
            </p:cNvPr>
            <p:cNvGraphicFramePr/>
            <p:nvPr/>
          </p:nvGraphicFramePr>
          <p:xfrm>
            <a:off x="7549376" y="691066"/>
            <a:ext cx="245326" cy="20072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5" name="Rectangle 88">
              <a:extLst>
                <a:ext uri="{FF2B5EF4-FFF2-40B4-BE49-F238E27FC236}">
                  <a16:creationId xmlns:a16="http://schemas.microsoft.com/office/drawing/2014/main" id="{8E4A1185-0AEE-41C1-A51C-26582298FD2D}"/>
                </a:ext>
              </a:extLst>
            </p:cNvPr>
            <p:cNvSpPr>
              <a:spLocks noChangeArrowheads="1"/>
            </p:cNvSpPr>
            <p:nvPr>
              <p:custDataLst>
                <p:tags r:id="rId3"/>
              </p:custDataLst>
            </p:nvPr>
          </p:nvSpPr>
          <p:spPr bwMode="gray">
            <a:xfrm>
              <a:off x="7866294" y="738188"/>
              <a:ext cx="1160462" cy="138499"/>
            </a:xfrm>
            <a:prstGeom prst="rect">
              <a:avLst/>
            </a:prstGeom>
            <a:noFill/>
            <a:ln w="9525">
              <a:noFill/>
              <a:miter lim="800000"/>
              <a:headEnd/>
              <a:tailEnd/>
            </a:ln>
          </p:spPr>
          <p:txBody>
            <a:bodyPr lIns="0" tIns="0" rIns="0" bIns="0">
              <a:spAutoFit/>
            </a:bodyPr>
            <a:lstStyle/>
            <a:p>
              <a:pPr marL="0" marR="0" lvl="0" indent="0" algn="l" defTabSz="912813" rtl="0" eaLnBrk="1" fontAlgn="auto" latinLnBrk="0" hangingPunct="1">
                <a:lnSpc>
                  <a:spcPct val="100000"/>
                </a:lnSpc>
                <a:spcBef>
                  <a:spcPts val="0"/>
                </a:spcBef>
                <a:spcAft>
                  <a:spcPts val="0"/>
                </a:spcAft>
                <a:buClr>
                  <a:srgbClr val="1F497D"/>
                </a:buClr>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Calibri" pitchFamily="34" charset="0"/>
                </a:rPr>
                <a:t>Portfolio Coverage</a:t>
              </a:r>
            </a:p>
          </p:txBody>
        </p:sp>
      </p:grpSp>
      <p:sp>
        <p:nvSpPr>
          <p:cNvPr id="4" name="TextBox 3">
            <a:extLst>
              <a:ext uri="{FF2B5EF4-FFF2-40B4-BE49-F238E27FC236}">
                <a16:creationId xmlns:a16="http://schemas.microsoft.com/office/drawing/2014/main" id="{E01C54FC-7750-4797-B5EB-212A74551F69}"/>
              </a:ext>
            </a:extLst>
          </p:cNvPr>
          <p:cNvSpPr txBox="1"/>
          <p:nvPr/>
        </p:nvSpPr>
        <p:spPr>
          <a:xfrm>
            <a:off x="13888" y="46938"/>
            <a:ext cx="4971867" cy="738664"/>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 </a:t>
            </a:r>
            <a:r>
              <a:rPr kumimoji="0" lang="en-US" sz="1400"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ompetitive evaluation framework</a:t>
            </a:r>
          </a:p>
        </p:txBody>
      </p:sp>
      <p:pic>
        <p:nvPicPr>
          <p:cNvPr id="17" name="Picture 16" descr="Logo&#10;&#10;Description automatically generated">
            <a:extLst>
              <a:ext uri="{FF2B5EF4-FFF2-40B4-BE49-F238E27FC236}">
                <a16:creationId xmlns:a16="http://schemas.microsoft.com/office/drawing/2014/main" id="{702E16ED-697E-4EBC-8A00-BA19616B5FC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441251" y="123574"/>
            <a:ext cx="1644316" cy="382715"/>
          </a:xfrm>
          <a:prstGeom prst="rect">
            <a:avLst/>
          </a:prstGeom>
        </p:spPr>
      </p:pic>
      <p:pic>
        <p:nvPicPr>
          <p:cNvPr id="2" name="Picture 1">
            <a:extLst>
              <a:ext uri="{FF2B5EF4-FFF2-40B4-BE49-F238E27FC236}">
                <a16:creationId xmlns:a16="http://schemas.microsoft.com/office/drawing/2014/main" id="{9986066B-12C3-4C54-B570-D42A1D9A21DA}"/>
              </a:ext>
            </a:extLst>
          </p:cNvPr>
          <p:cNvPicPr>
            <a:picLocks noChangeAspect="1"/>
          </p:cNvPicPr>
          <p:nvPr/>
        </p:nvPicPr>
        <p:blipFill>
          <a:blip r:embed="rId11"/>
          <a:stretch>
            <a:fillRect/>
          </a:stretch>
        </p:blipFill>
        <p:spPr>
          <a:xfrm>
            <a:off x="2035889" y="894139"/>
            <a:ext cx="8991600" cy="5448300"/>
          </a:xfrm>
          <a:prstGeom prst="rect">
            <a:avLst/>
          </a:prstGeom>
        </p:spPr>
      </p:pic>
      <p:sp>
        <p:nvSpPr>
          <p:cNvPr id="16" name="TextBox 15">
            <a:extLst>
              <a:ext uri="{FF2B5EF4-FFF2-40B4-BE49-F238E27FC236}">
                <a16:creationId xmlns:a16="http://schemas.microsoft.com/office/drawing/2014/main" id="{D4066B1B-AC17-4ABC-8014-269F5CC763A4}"/>
              </a:ext>
            </a:extLst>
          </p:cNvPr>
          <p:cNvSpPr txBox="1"/>
          <p:nvPr/>
        </p:nvSpPr>
        <p:spPr>
          <a:xfrm>
            <a:off x="5193437" y="6622072"/>
            <a:ext cx="6391997"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 This file is available on www.upskilpro.com in an editable version , use the reference number provided on the top right </a:t>
            </a:r>
          </a:p>
        </p:txBody>
      </p:sp>
    </p:spTree>
    <p:extLst>
      <p:ext uri="{BB962C8B-B14F-4D97-AF65-F5344CB8AC3E}">
        <p14:creationId xmlns:p14="http://schemas.microsoft.com/office/powerpoint/2010/main" val="422760370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2DFE87A-94FB-E25C-82CB-55B9F5576796}"/>
              </a:ext>
            </a:extLst>
          </p:cNvPr>
          <p:cNvSpPr txBox="1"/>
          <p:nvPr/>
        </p:nvSpPr>
        <p:spPr>
          <a:xfrm>
            <a:off x="0" y="2990944"/>
            <a:ext cx="12192000"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Resources</a:t>
            </a:r>
          </a:p>
        </p:txBody>
      </p:sp>
    </p:spTree>
    <p:extLst>
      <p:ext uri="{BB962C8B-B14F-4D97-AF65-F5344CB8AC3E}">
        <p14:creationId xmlns:p14="http://schemas.microsoft.com/office/powerpoint/2010/main" val="288805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4EB956D-AD80-A706-780D-134A6DA069ED}"/>
              </a:ext>
            </a:extLst>
          </p:cNvPr>
          <p:cNvSpPr txBox="1"/>
          <p:nvPr/>
        </p:nvSpPr>
        <p:spPr>
          <a:xfrm>
            <a:off x="97774" y="54694"/>
            <a:ext cx="6413314" cy="805092"/>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  </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Lato Light" panose="020F0502020204030203" pitchFamily="34" charset="0"/>
                <a:cs typeface="Poppins" panose="00000500000000000000" pitchFamily="2" charset="0"/>
              </a:rPr>
              <a:t>Human Resource Plan </a:t>
            </a:r>
          </a:p>
        </p:txBody>
      </p:sp>
      <p:pic>
        <p:nvPicPr>
          <p:cNvPr id="4" name="Picture 3">
            <a:extLst>
              <a:ext uri="{FF2B5EF4-FFF2-40B4-BE49-F238E27FC236}">
                <a16:creationId xmlns:a16="http://schemas.microsoft.com/office/drawing/2014/main" id="{060E5F91-22E0-D632-8AE2-C8E39910A87A}"/>
              </a:ext>
            </a:extLst>
          </p:cNvPr>
          <p:cNvPicPr>
            <a:picLocks noChangeAspect="1"/>
          </p:cNvPicPr>
          <p:nvPr/>
        </p:nvPicPr>
        <p:blipFill>
          <a:blip r:embed="rId2"/>
          <a:stretch>
            <a:fillRect/>
          </a:stretch>
        </p:blipFill>
        <p:spPr>
          <a:xfrm>
            <a:off x="534254" y="1051684"/>
            <a:ext cx="11185133" cy="5021744"/>
          </a:xfrm>
          <a:prstGeom prst="rect">
            <a:avLst/>
          </a:prstGeom>
        </p:spPr>
      </p:pic>
    </p:spTree>
    <p:extLst>
      <p:ext uri="{BB962C8B-B14F-4D97-AF65-F5344CB8AC3E}">
        <p14:creationId xmlns:p14="http://schemas.microsoft.com/office/powerpoint/2010/main" val="188598409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4EB956D-AD80-A706-780D-134A6DA069ED}"/>
              </a:ext>
            </a:extLst>
          </p:cNvPr>
          <p:cNvSpPr txBox="1"/>
          <p:nvPr/>
        </p:nvSpPr>
        <p:spPr>
          <a:xfrm>
            <a:off x="97774" y="54694"/>
            <a:ext cx="6413314" cy="805092"/>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  </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Lato Light" panose="020F0502020204030203" pitchFamily="34" charset="0"/>
                <a:cs typeface="Poppins" panose="00000500000000000000" pitchFamily="2" charset="0"/>
              </a:rPr>
              <a:t>Human Resource Plan </a:t>
            </a:r>
          </a:p>
        </p:txBody>
      </p:sp>
      <p:pic>
        <p:nvPicPr>
          <p:cNvPr id="4" name="Picture 3">
            <a:extLst>
              <a:ext uri="{FF2B5EF4-FFF2-40B4-BE49-F238E27FC236}">
                <a16:creationId xmlns:a16="http://schemas.microsoft.com/office/drawing/2014/main" id="{24606BED-F248-8F1D-E9C9-3A9C80C9E403}"/>
              </a:ext>
            </a:extLst>
          </p:cNvPr>
          <p:cNvPicPr>
            <a:picLocks noChangeAspect="1"/>
          </p:cNvPicPr>
          <p:nvPr/>
        </p:nvPicPr>
        <p:blipFill>
          <a:blip r:embed="rId2"/>
          <a:stretch>
            <a:fillRect/>
          </a:stretch>
        </p:blipFill>
        <p:spPr>
          <a:xfrm>
            <a:off x="719191" y="941125"/>
            <a:ext cx="10784440" cy="5415429"/>
          </a:xfrm>
          <a:prstGeom prst="rect">
            <a:avLst/>
          </a:prstGeom>
        </p:spPr>
      </p:pic>
    </p:spTree>
    <p:extLst>
      <p:ext uri="{BB962C8B-B14F-4D97-AF65-F5344CB8AC3E}">
        <p14:creationId xmlns:p14="http://schemas.microsoft.com/office/powerpoint/2010/main" val="158312959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818E995-5E36-1A0E-3117-2223D7E5A0F4}"/>
              </a:ext>
            </a:extLst>
          </p:cNvPr>
          <p:cNvSpPr txBox="1"/>
          <p:nvPr/>
        </p:nvSpPr>
        <p:spPr>
          <a:xfrm>
            <a:off x="97774" y="54694"/>
            <a:ext cx="6413314" cy="805092"/>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  </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Lato Light" panose="020F0502020204030203" pitchFamily="34" charset="0"/>
                <a:cs typeface="Poppins" panose="00000500000000000000" pitchFamily="2" charset="0"/>
              </a:rPr>
              <a:t>Planning Exercise – SWOT Execution</a:t>
            </a:r>
          </a:p>
        </p:txBody>
      </p:sp>
      <p:pic>
        <p:nvPicPr>
          <p:cNvPr id="4" name="Picture 3">
            <a:extLst>
              <a:ext uri="{FF2B5EF4-FFF2-40B4-BE49-F238E27FC236}">
                <a16:creationId xmlns:a16="http://schemas.microsoft.com/office/drawing/2014/main" id="{91007229-032E-B0CD-6D1C-EF577A786FCB}"/>
              </a:ext>
            </a:extLst>
          </p:cNvPr>
          <p:cNvPicPr>
            <a:picLocks noChangeAspect="1"/>
          </p:cNvPicPr>
          <p:nvPr/>
        </p:nvPicPr>
        <p:blipFill>
          <a:blip r:embed="rId2"/>
          <a:stretch>
            <a:fillRect/>
          </a:stretch>
        </p:blipFill>
        <p:spPr>
          <a:xfrm>
            <a:off x="441788" y="1149773"/>
            <a:ext cx="11380342" cy="4665143"/>
          </a:xfrm>
          <a:prstGeom prst="rect">
            <a:avLst/>
          </a:prstGeom>
        </p:spPr>
      </p:pic>
    </p:spTree>
    <p:extLst>
      <p:ext uri="{BB962C8B-B14F-4D97-AF65-F5344CB8AC3E}">
        <p14:creationId xmlns:p14="http://schemas.microsoft.com/office/powerpoint/2010/main" val="304932698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45E312C-1151-2EBF-8248-81E49F3B91D7}"/>
              </a:ext>
            </a:extLst>
          </p:cNvPr>
          <p:cNvSpPr txBox="1"/>
          <p:nvPr/>
        </p:nvSpPr>
        <p:spPr>
          <a:xfrm>
            <a:off x="97774" y="54694"/>
            <a:ext cx="6413314" cy="805092"/>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  </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Lato Light" panose="020F0502020204030203" pitchFamily="34" charset="0"/>
                <a:cs typeface="Poppins" panose="00000500000000000000" pitchFamily="2" charset="0"/>
              </a:rPr>
              <a:t>Investments Plan </a:t>
            </a:r>
          </a:p>
        </p:txBody>
      </p:sp>
      <p:pic>
        <p:nvPicPr>
          <p:cNvPr id="4" name="Picture 3">
            <a:extLst>
              <a:ext uri="{FF2B5EF4-FFF2-40B4-BE49-F238E27FC236}">
                <a16:creationId xmlns:a16="http://schemas.microsoft.com/office/drawing/2014/main" id="{86342D3C-2E4E-41A7-039F-1474223EC41C}"/>
              </a:ext>
            </a:extLst>
          </p:cNvPr>
          <p:cNvPicPr>
            <a:picLocks noChangeAspect="1"/>
          </p:cNvPicPr>
          <p:nvPr/>
        </p:nvPicPr>
        <p:blipFill>
          <a:blip r:embed="rId2"/>
          <a:stretch>
            <a:fillRect/>
          </a:stretch>
        </p:blipFill>
        <p:spPr>
          <a:xfrm>
            <a:off x="339048" y="1150706"/>
            <a:ext cx="11435411" cy="4703386"/>
          </a:xfrm>
          <a:prstGeom prst="rect">
            <a:avLst/>
          </a:prstGeom>
        </p:spPr>
      </p:pic>
    </p:spTree>
    <p:extLst>
      <p:ext uri="{BB962C8B-B14F-4D97-AF65-F5344CB8AC3E}">
        <p14:creationId xmlns:p14="http://schemas.microsoft.com/office/powerpoint/2010/main" val="125870432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41F97B1-E6B0-BAD4-66A2-5483036D109F}"/>
              </a:ext>
            </a:extLst>
          </p:cNvPr>
          <p:cNvSpPr txBox="1"/>
          <p:nvPr/>
        </p:nvSpPr>
        <p:spPr>
          <a:xfrm>
            <a:off x="3085536" y="2990944"/>
            <a:ext cx="5918826"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actics</a:t>
            </a:r>
          </a:p>
        </p:txBody>
      </p:sp>
      <p:pic>
        <p:nvPicPr>
          <p:cNvPr id="3" name="Picture 2">
            <a:extLst>
              <a:ext uri="{FF2B5EF4-FFF2-40B4-BE49-F238E27FC236}">
                <a16:creationId xmlns:a16="http://schemas.microsoft.com/office/drawing/2014/main" id="{395840DC-61CB-6F96-B6FB-A27679A9F06F}"/>
              </a:ext>
            </a:extLst>
          </p:cNvPr>
          <p:cNvPicPr>
            <a:picLocks noChangeAspect="1"/>
          </p:cNvPicPr>
          <p:nvPr/>
        </p:nvPicPr>
        <p:blipFill>
          <a:blip r:embed="rId2"/>
          <a:stretch>
            <a:fillRect/>
          </a:stretch>
        </p:blipFill>
        <p:spPr>
          <a:xfrm>
            <a:off x="8167955" y="105568"/>
            <a:ext cx="4646813" cy="5812351"/>
          </a:xfrm>
          <a:prstGeom prst="rect">
            <a:avLst/>
          </a:prstGeom>
        </p:spPr>
      </p:pic>
    </p:spTree>
    <p:extLst>
      <p:ext uri="{BB962C8B-B14F-4D97-AF65-F5344CB8AC3E}">
        <p14:creationId xmlns:p14="http://schemas.microsoft.com/office/powerpoint/2010/main" val="84570302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45E312C-1151-2EBF-8248-81E49F3B91D7}"/>
              </a:ext>
            </a:extLst>
          </p:cNvPr>
          <p:cNvSpPr txBox="1"/>
          <p:nvPr/>
        </p:nvSpPr>
        <p:spPr>
          <a:xfrm>
            <a:off x="97774" y="54694"/>
            <a:ext cx="6413314" cy="805092"/>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  </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Lato Light" panose="020F0502020204030203" pitchFamily="34" charset="0"/>
                <a:cs typeface="Poppins" panose="00000500000000000000" pitchFamily="2" charset="0"/>
              </a:rPr>
              <a:t>Brands , Channels and Tactics</a:t>
            </a:r>
          </a:p>
        </p:txBody>
      </p:sp>
      <p:pic>
        <p:nvPicPr>
          <p:cNvPr id="3" name="Picture 2">
            <a:extLst>
              <a:ext uri="{FF2B5EF4-FFF2-40B4-BE49-F238E27FC236}">
                <a16:creationId xmlns:a16="http://schemas.microsoft.com/office/drawing/2014/main" id="{C912671A-F237-C4F7-A2CF-29FF451FE961}"/>
              </a:ext>
            </a:extLst>
          </p:cNvPr>
          <p:cNvPicPr>
            <a:picLocks noChangeAspect="1"/>
          </p:cNvPicPr>
          <p:nvPr/>
        </p:nvPicPr>
        <p:blipFill>
          <a:blip r:embed="rId2"/>
          <a:stretch>
            <a:fillRect/>
          </a:stretch>
        </p:blipFill>
        <p:spPr>
          <a:xfrm>
            <a:off x="448248" y="1509824"/>
            <a:ext cx="11319309" cy="4527724"/>
          </a:xfrm>
          <a:prstGeom prst="rect">
            <a:avLst/>
          </a:prstGeom>
        </p:spPr>
      </p:pic>
    </p:spTree>
    <p:extLst>
      <p:ext uri="{BB962C8B-B14F-4D97-AF65-F5344CB8AC3E}">
        <p14:creationId xmlns:p14="http://schemas.microsoft.com/office/powerpoint/2010/main" val="198230184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45E312C-1151-2EBF-8248-81E49F3B91D7}"/>
              </a:ext>
            </a:extLst>
          </p:cNvPr>
          <p:cNvSpPr txBox="1"/>
          <p:nvPr/>
        </p:nvSpPr>
        <p:spPr>
          <a:xfrm>
            <a:off x="97774" y="54694"/>
            <a:ext cx="6413314" cy="805092"/>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  </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Lato Light" panose="020F0502020204030203" pitchFamily="34" charset="0"/>
                <a:cs typeface="Poppins" panose="00000500000000000000" pitchFamily="2" charset="0"/>
              </a:rPr>
              <a:t>Branding Opportunities</a:t>
            </a:r>
          </a:p>
        </p:txBody>
      </p:sp>
      <p:grpSp>
        <p:nvGrpSpPr>
          <p:cNvPr id="8" name="Group 7">
            <a:extLst>
              <a:ext uri="{FF2B5EF4-FFF2-40B4-BE49-F238E27FC236}">
                <a16:creationId xmlns:a16="http://schemas.microsoft.com/office/drawing/2014/main" id="{6B0F1360-C7C5-E977-87E8-022727F71B15}"/>
              </a:ext>
            </a:extLst>
          </p:cNvPr>
          <p:cNvGrpSpPr/>
          <p:nvPr/>
        </p:nvGrpSpPr>
        <p:grpSpPr>
          <a:xfrm>
            <a:off x="9154275" y="1055939"/>
            <a:ext cx="2321959" cy="2735225"/>
            <a:chOff x="8455631" y="1394986"/>
            <a:chExt cx="2825394" cy="3033175"/>
          </a:xfrm>
        </p:grpSpPr>
        <p:pic>
          <p:nvPicPr>
            <p:cNvPr id="2052" name="Picture 4" descr="White empty store shelves. Retail shelf rack. Showcase display. Vector illustration. Realistic 3d vector illustration.&#10;                        ">
              <a:extLst>
                <a:ext uri="{FF2B5EF4-FFF2-40B4-BE49-F238E27FC236}">
                  <a16:creationId xmlns:a16="http://schemas.microsoft.com/office/drawing/2014/main" id="{7A10E3FA-BFCD-0E89-FFD9-1C61155FD92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9364" r="19288"/>
            <a:stretch/>
          </p:blipFill>
          <p:spPr bwMode="auto">
            <a:xfrm>
              <a:off x="8476180" y="2142161"/>
              <a:ext cx="2804845" cy="22860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838D6588-CC17-D168-2D48-8AD26AA9DF92}"/>
                </a:ext>
              </a:extLst>
            </p:cNvPr>
            <p:cNvSpPr/>
            <p:nvPr/>
          </p:nvSpPr>
          <p:spPr>
            <a:xfrm>
              <a:off x="8496728" y="1582220"/>
              <a:ext cx="1541124" cy="421241"/>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Lato Light"/>
                  <a:ea typeface="+mn-ea"/>
                  <a:cs typeface="+mn-cs"/>
                </a:rPr>
                <a:t>Tide detergents</a:t>
              </a:r>
            </a:p>
          </p:txBody>
        </p:sp>
        <p:pic>
          <p:nvPicPr>
            <p:cNvPr id="2054" name="Picture 6" descr="Laundry Detergent and Fabric Care Products - Tide">
              <a:extLst>
                <a:ext uri="{FF2B5EF4-FFF2-40B4-BE49-F238E27FC236}">
                  <a16:creationId xmlns:a16="http://schemas.microsoft.com/office/drawing/2014/main" id="{1F34DF34-E2E5-90D4-C493-03978F44687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20849" y="1394986"/>
              <a:ext cx="1119080" cy="712866"/>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D9F47FA5-8285-95DC-3BFF-3CF325DA2E5A}"/>
                </a:ext>
              </a:extLst>
            </p:cNvPr>
            <p:cNvSpPr/>
            <p:nvPr/>
          </p:nvSpPr>
          <p:spPr>
            <a:xfrm>
              <a:off x="8455631" y="1397285"/>
              <a:ext cx="2825394" cy="719191"/>
            </a:xfrm>
            <a:prstGeom prst="rect">
              <a:avLst/>
            </a:prstGeom>
            <a:noFill/>
            <a:ln w="285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Light"/>
                <a:ea typeface="+mn-ea"/>
                <a:cs typeface="+mn-cs"/>
              </a:endParaRPr>
            </a:p>
          </p:txBody>
        </p:sp>
      </p:grpSp>
      <p:pic>
        <p:nvPicPr>
          <p:cNvPr id="2056" name="Picture 8" descr="Grocery store shop interior black white graphic sketch illustration vector">
            <a:extLst>
              <a:ext uri="{FF2B5EF4-FFF2-40B4-BE49-F238E27FC236}">
                <a16:creationId xmlns:a16="http://schemas.microsoft.com/office/drawing/2014/main" id="{6FBE2952-2E6D-03B3-86B5-E9B19659BE9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43761" y="3935002"/>
            <a:ext cx="2716659" cy="195209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6" descr="Laundry Detergent and Fabric Care Products - Tide">
            <a:extLst>
              <a:ext uri="{FF2B5EF4-FFF2-40B4-BE49-F238E27FC236}">
                <a16:creationId xmlns:a16="http://schemas.microsoft.com/office/drawing/2014/main" id="{4AAF8B81-55F8-EEA8-BF13-41B0EFC2A96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31048"/>
          <a:stretch/>
        </p:blipFill>
        <p:spPr bwMode="auto">
          <a:xfrm>
            <a:off x="9862282" y="5246083"/>
            <a:ext cx="1038599" cy="959508"/>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515F08BB-F19F-CD34-D604-2528125FCF64}"/>
              </a:ext>
            </a:extLst>
          </p:cNvPr>
          <p:cNvSpPr txBox="1"/>
          <p:nvPr/>
        </p:nvSpPr>
        <p:spPr>
          <a:xfrm>
            <a:off x="5013788" y="1407560"/>
            <a:ext cx="4068566" cy="229293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Lato Light"/>
                <a:ea typeface="+mn-ea"/>
                <a:cs typeface="+mn-cs"/>
              </a:rPr>
              <a:t>The Branding plan in trade marketing will cover the following area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black"/>
              </a:solidFill>
              <a:effectLst/>
              <a:uLnTx/>
              <a:uFillTx/>
              <a:latin typeface="Lato Ligh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black"/>
                </a:solidFill>
                <a:effectLst/>
                <a:uLnTx/>
                <a:uFillTx/>
                <a:latin typeface="Lato Light"/>
                <a:ea typeface="+mn-ea"/>
                <a:cs typeface="+mn-cs"/>
              </a:rPr>
              <a:t>In Category at the sto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black"/>
                </a:solidFill>
                <a:effectLst/>
                <a:uLnTx/>
                <a:uFillTx/>
                <a:latin typeface="Lato Light"/>
                <a:ea typeface="+mn-ea"/>
                <a:cs typeface="+mn-cs"/>
              </a:rPr>
              <a:t>In Communication at the sto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black"/>
                </a:solidFill>
                <a:effectLst/>
                <a:uLnTx/>
                <a:uFillTx/>
                <a:latin typeface="Lato Light"/>
                <a:ea typeface="+mn-ea"/>
                <a:cs typeface="+mn-cs"/>
              </a:rPr>
              <a:t>In Display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black"/>
                </a:solidFill>
                <a:effectLst/>
                <a:uLnTx/>
                <a:uFillTx/>
                <a:latin typeface="Lato Light"/>
                <a:ea typeface="+mn-ea"/>
                <a:cs typeface="+mn-cs"/>
              </a:rPr>
              <a:t>Anywhere where the consumer looks and touches outside the category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black"/>
                </a:solidFill>
                <a:effectLst/>
                <a:uLnTx/>
                <a:uFillTx/>
                <a:latin typeface="Lato Light"/>
                <a:ea typeface="+mn-ea"/>
                <a:cs typeface="+mn-cs"/>
              </a:rPr>
              <a:t>On pack for Promo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black"/>
                </a:solidFill>
                <a:effectLst/>
                <a:uLnTx/>
                <a:uFillTx/>
                <a:latin typeface="Lato Light"/>
                <a:ea typeface="+mn-ea"/>
                <a:cs typeface="+mn-cs"/>
              </a:rPr>
              <a:t>Promotional Staff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100" b="0" i="0" u="none" strike="noStrike" kern="1200" cap="none" spc="0" normalizeH="0" baseline="0" noProof="0" dirty="0">
              <a:ln>
                <a:noFill/>
              </a:ln>
              <a:solidFill>
                <a:prstClr val="black"/>
              </a:solidFill>
              <a:effectLst/>
              <a:uLnTx/>
              <a:uFillTx/>
              <a:latin typeface="Lato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black"/>
              </a:solidFill>
              <a:effectLst/>
              <a:uLnTx/>
              <a:uFillTx/>
              <a:latin typeface="Lato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Lato Light"/>
                <a:ea typeface="+mn-ea"/>
                <a:cs typeface="+mn-cs"/>
              </a:rPr>
              <a:t> </a:t>
            </a:r>
          </a:p>
        </p:txBody>
      </p:sp>
      <p:pic>
        <p:nvPicPr>
          <p:cNvPr id="2058" name="Picture 10" descr="People shopping at the supermarket">
            <a:extLst>
              <a:ext uri="{FF2B5EF4-FFF2-40B4-BE49-F238E27FC236}">
                <a16:creationId xmlns:a16="http://schemas.microsoft.com/office/drawing/2014/main" id="{A816BEB7-EB45-06D2-7969-06E3A52099D0}"/>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340866" y="1320229"/>
            <a:ext cx="4400550" cy="2286000"/>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Supermarket Aisle With Shelves, Grocery Items, Shopping, Retail And Consumerism Concept Flat Vector Illustration">
            <a:extLst>
              <a:ext uri="{FF2B5EF4-FFF2-40B4-BE49-F238E27FC236}">
                <a16:creationId xmlns:a16="http://schemas.microsoft.com/office/drawing/2014/main" id="{569A2696-E204-8817-25BA-D41C41AFE9DC}"/>
              </a:ext>
            </a:extLst>
          </p:cNvPr>
          <p:cNvPicPr>
            <a:picLocks noChangeAspect="1" noChangeArrowheads="1"/>
          </p:cNvPicPr>
          <p:nvPr/>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r="-21711"/>
          <a:stretch/>
        </p:blipFill>
        <p:spPr bwMode="auto">
          <a:xfrm>
            <a:off x="317697" y="3688422"/>
            <a:ext cx="5378008" cy="234250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CD5F54C2-6529-7431-706E-06EE7C8DBB17}"/>
              </a:ext>
            </a:extLst>
          </p:cNvPr>
          <p:cNvPicPr>
            <a:picLocks noChangeAspect="1"/>
          </p:cNvPicPr>
          <p:nvPr/>
        </p:nvPicPr>
        <p:blipFill rotWithShape="1">
          <a:blip r:embed="rId9">
            <a:extLst>
              <a:ext uri="{BEBA8EAE-BF5A-486C-A8C5-ECC9F3942E4B}">
                <a14:imgProps xmlns:a14="http://schemas.microsoft.com/office/drawing/2010/main">
                  <a14:imgLayer r:embed="rId10">
                    <a14:imgEffect>
                      <a14:saturation sat="0"/>
                    </a14:imgEffect>
                  </a14:imgLayer>
                </a14:imgProps>
              </a:ext>
            </a:extLst>
          </a:blip>
          <a:srcRect l="30350" t="52809" r="39378"/>
          <a:stretch/>
        </p:blipFill>
        <p:spPr>
          <a:xfrm>
            <a:off x="5630238" y="4428162"/>
            <a:ext cx="2528423" cy="1397286"/>
          </a:xfrm>
          <a:prstGeom prst="rect">
            <a:avLst/>
          </a:prstGeom>
        </p:spPr>
      </p:pic>
      <p:sp>
        <p:nvSpPr>
          <p:cNvPr id="14" name="Oval 13">
            <a:extLst>
              <a:ext uri="{FF2B5EF4-FFF2-40B4-BE49-F238E27FC236}">
                <a16:creationId xmlns:a16="http://schemas.microsoft.com/office/drawing/2014/main" id="{0458D674-0CD1-9D17-8361-9443216E8BB3}"/>
              </a:ext>
            </a:extLst>
          </p:cNvPr>
          <p:cNvSpPr/>
          <p:nvPr/>
        </p:nvSpPr>
        <p:spPr>
          <a:xfrm>
            <a:off x="2404153" y="3339101"/>
            <a:ext cx="174660" cy="184935"/>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Light"/>
              <a:ea typeface="+mn-ea"/>
              <a:cs typeface="+mn-cs"/>
            </a:endParaRPr>
          </a:p>
        </p:txBody>
      </p:sp>
      <p:sp>
        <p:nvSpPr>
          <p:cNvPr id="15" name="Oval 14">
            <a:extLst>
              <a:ext uri="{FF2B5EF4-FFF2-40B4-BE49-F238E27FC236}">
                <a16:creationId xmlns:a16="http://schemas.microsoft.com/office/drawing/2014/main" id="{780D2D65-443D-3C55-250B-10028954CBBB}"/>
              </a:ext>
            </a:extLst>
          </p:cNvPr>
          <p:cNvSpPr/>
          <p:nvPr/>
        </p:nvSpPr>
        <p:spPr>
          <a:xfrm>
            <a:off x="3357937" y="3203824"/>
            <a:ext cx="174660" cy="184935"/>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Light"/>
              <a:ea typeface="+mn-ea"/>
              <a:cs typeface="+mn-cs"/>
            </a:endParaRPr>
          </a:p>
        </p:txBody>
      </p:sp>
      <p:sp>
        <p:nvSpPr>
          <p:cNvPr id="16" name="Oval 15">
            <a:extLst>
              <a:ext uri="{FF2B5EF4-FFF2-40B4-BE49-F238E27FC236}">
                <a16:creationId xmlns:a16="http://schemas.microsoft.com/office/drawing/2014/main" id="{01B846A1-A185-BB28-7F56-C6C9DFC51B56}"/>
              </a:ext>
            </a:extLst>
          </p:cNvPr>
          <p:cNvSpPr/>
          <p:nvPr/>
        </p:nvSpPr>
        <p:spPr>
          <a:xfrm>
            <a:off x="4250077" y="2246615"/>
            <a:ext cx="174660" cy="184935"/>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Light"/>
              <a:ea typeface="+mn-ea"/>
              <a:cs typeface="+mn-cs"/>
            </a:endParaRPr>
          </a:p>
        </p:txBody>
      </p:sp>
      <p:sp>
        <p:nvSpPr>
          <p:cNvPr id="17" name="Oval 16">
            <a:extLst>
              <a:ext uri="{FF2B5EF4-FFF2-40B4-BE49-F238E27FC236}">
                <a16:creationId xmlns:a16="http://schemas.microsoft.com/office/drawing/2014/main" id="{9578EDFC-7E79-70DE-2EEF-E9981589B3EE}"/>
              </a:ext>
            </a:extLst>
          </p:cNvPr>
          <p:cNvSpPr/>
          <p:nvPr/>
        </p:nvSpPr>
        <p:spPr>
          <a:xfrm>
            <a:off x="3436706" y="1669550"/>
            <a:ext cx="174660" cy="184935"/>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Light"/>
              <a:ea typeface="+mn-ea"/>
              <a:cs typeface="+mn-cs"/>
            </a:endParaRPr>
          </a:p>
        </p:txBody>
      </p:sp>
      <p:sp>
        <p:nvSpPr>
          <p:cNvPr id="18" name="Oval 17">
            <a:extLst>
              <a:ext uri="{FF2B5EF4-FFF2-40B4-BE49-F238E27FC236}">
                <a16:creationId xmlns:a16="http://schemas.microsoft.com/office/drawing/2014/main" id="{EEAF5FBD-E6B0-8444-C20E-18B36BEFB88A}"/>
              </a:ext>
            </a:extLst>
          </p:cNvPr>
          <p:cNvSpPr/>
          <p:nvPr/>
        </p:nvSpPr>
        <p:spPr>
          <a:xfrm>
            <a:off x="2366481" y="1544548"/>
            <a:ext cx="315074" cy="273978"/>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Light"/>
              <a:ea typeface="+mn-ea"/>
              <a:cs typeface="+mn-cs"/>
            </a:endParaRPr>
          </a:p>
        </p:txBody>
      </p:sp>
      <p:sp>
        <p:nvSpPr>
          <p:cNvPr id="19" name="Oval 18">
            <a:extLst>
              <a:ext uri="{FF2B5EF4-FFF2-40B4-BE49-F238E27FC236}">
                <a16:creationId xmlns:a16="http://schemas.microsoft.com/office/drawing/2014/main" id="{24E8D7AC-5A14-D745-B5F9-E4A09A90B89F}"/>
              </a:ext>
            </a:extLst>
          </p:cNvPr>
          <p:cNvSpPr/>
          <p:nvPr/>
        </p:nvSpPr>
        <p:spPr>
          <a:xfrm>
            <a:off x="655834" y="4159322"/>
            <a:ext cx="174660" cy="184935"/>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Light"/>
              <a:ea typeface="+mn-ea"/>
              <a:cs typeface="+mn-cs"/>
            </a:endParaRPr>
          </a:p>
        </p:txBody>
      </p:sp>
      <p:sp>
        <p:nvSpPr>
          <p:cNvPr id="20" name="Oval 19">
            <a:extLst>
              <a:ext uri="{FF2B5EF4-FFF2-40B4-BE49-F238E27FC236}">
                <a16:creationId xmlns:a16="http://schemas.microsoft.com/office/drawing/2014/main" id="{3358737E-7198-422B-6084-E227EDF9F62E}"/>
              </a:ext>
            </a:extLst>
          </p:cNvPr>
          <p:cNvSpPr/>
          <p:nvPr/>
        </p:nvSpPr>
        <p:spPr>
          <a:xfrm>
            <a:off x="1804827" y="3880208"/>
            <a:ext cx="174660" cy="184935"/>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Light"/>
              <a:ea typeface="+mn-ea"/>
              <a:cs typeface="+mn-cs"/>
            </a:endParaRPr>
          </a:p>
        </p:txBody>
      </p:sp>
      <p:sp>
        <p:nvSpPr>
          <p:cNvPr id="21" name="Oval 20">
            <a:extLst>
              <a:ext uri="{FF2B5EF4-FFF2-40B4-BE49-F238E27FC236}">
                <a16:creationId xmlns:a16="http://schemas.microsoft.com/office/drawing/2014/main" id="{0B135B05-2183-E20B-26AC-362AC8F6D1E0}"/>
              </a:ext>
            </a:extLst>
          </p:cNvPr>
          <p:cNvSpPr/>
          <p:nvPr/>
        </p:nvSpPr>
        <p:spPr>
          <a:xfrm>
            <a:off x="7320337" y="5214135"/>
            <a:ext cx="174660" cy="184935"/>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Light"/>
              <a:ea typeface="+mn-ea"/>
              <a:cs typeface="+mn-cs"/>
            </a:endParaRPr>
          </a:p>
        </p:txBody>
      </p:sp>
      <p:sp>
        <p:nvSpPr>
          <p:cNvPr id="22" name="Oval 21">
            <a:extLst>
              <a:ext uri="{FF2B5EF4-FFF2-40B4-BE49-F238E27FC236}">
                <a16:creationId xmlns:a16="http://schemas.microsoft.com/office/drawing/2014/main" id="{6C8961C9-74D9-4867-D3AB-07CF66E9D085}"/>
              </a:ext>
            </a:extLst>
          </p:cNvPr>
          <p:cNvSpPr/>
          <p:nvPr/>
        </p:nvSpPr>
        <p:spPr>
          <a:xfrm>
            <a:off x="6794644" y="4482958"/>
            <a:ext cx="174660" cy="184935"/>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Light"/>
              <a:ea typeface="+mn-ea"/>
              <a:cs typeface="+mn-cs"/>
            </a:endParaRPr>
          </a:p>
        </p:txBody>
      </p:sp>
      <p:sp>
        <p:nvSpPr>
          <p:cNvPr id="4" name="Oval 3">
            <a:extLst>
              <a:ext uri="{FF2B5EF4-FFF2-40B4-BE49-F238E27FC236}">
                <a16:creationId xmlns:a16="http://schemas.microsoft.com/office/drawing/2014/main" id="{0349801D-CA22-F6C3-F27F-F4E4E0DDDD8F}"/>
              </a:ext>
            </a:extLst>
          </p:cNvPr>
          <p:cNvSpPr/>
          <p:nvPr/>
        </p:nvSpPr>
        <p:spPr>
          <a:xfrm>
            <a:off x="646601" y="2245191"/>
            <a:ext cx="174660" cy="184935"/>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Light"/>
              <a:ea typeface="+mn-ea"/>
              <a:cs typeface="+mn-cs"/>
            </a:endParaRPr>
          </a:p>
        </p:txBody>
      </p:sp>
    </p:spTree>
    <p:extLst>
      <p:ext uri="{BB962C8B-B14F-4D97-AF65-F5344CB8AC3E}">
        <p14:creationId xmlns:p14="http://schemas.microsoft.com/office/powerpoint/2010/main" val="381254005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45E312C-1151-2EBF-8248-81E49F3B91D7}"/>
              </a:ext>
            </a:extLst>
          </p:cNvPr>
          <p:cNvSpPr txBox="1"/>
          <p:nvPr/>
        </p:nvSpPr>
        <p:spPr>
          <a:xfrm>
            <a:off x="97774" y="54694"/>
            <a:ext cx="6413314" cy="805092"/>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  </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Lato Light" panose="020F0502020204030203" pitchFamily="34" charset="0"/>
                <a:cs typeface="Poppins" panose="00000500000000000000" pitchFamily="2" charset="0"/>
              </a:rPr>
              <a:t>Branding &amp; Visibility Plan </a:t>
            </a:r>
          </a:p>
        </p:txBody>
      </p:sp>
      <p:grpSp>
        <p:nvGrpSpPr>
          <p:cNvPr id="5" name="Group 4">
            <a:extLst>
              <a:ext uri="{FF2B5EF4-FFF2-40B4-BE49-F238E27FC236}">
                <a16:creationId xmlns:a16="http://schemas.microsoft.com/office/drawing/2014/main" id="{04B14979-E4B5-295E-B844-C94579A780CC}"/>
              </a:ext>
            </a:extLst>
          </p:cNvPr>
          <p:cNvGrpSpPr/>
          <p:nvPr/>
        </p:nvGrpSpPr>
        <p:grpSpPr>
          <a:xfrm>
            <a:off x="538384" y="1215441"/>
            <a:ext cx="11391545" cy="5029061"/>
            <a:chOff x="538384" y="1215441"/>
            <a:chExt cx="11391545" cy="5029061"/>
          </a:xfrm>
        </p:grpSpPr>
        <p:pic>
          <p:nvPicPr>
            <p:cNvPr id="4" name="Picture 3">
              <a:extLst>
                <a:ext uri="{FF2B5EF4-FFF2-40B4-BE49-F238E27FC236}">
                  <a16:creationId xmlns:a16="http://schemas.microsoft.com/office/drawing/2014/main" id="{C6AC45CA-DD80-AD70-ADBB-E6EF04686B62}"/>
                </a:ext>
              </a:extLst>
            </p:cNvPr>
            <p:cNvPicPr>
              <a:picLocks noChangeAspect="1"/>
            </p:cNvPicPr>
            <p:nvPr/>
          </p:nvPicPr>
          <p:blipFill>
            <a:blip r:embed="rId2"/>
            <a:stretch>
              <a:fillRect/>
            </a:stretch>
          </p:blipFill>
          <p:spPr>
            <a:xfrm>
              <a:off x="538384" y="1215441"/>
              <a:ext cx="11330999" cy="4800429"/>
            </a:xfrm>
            <a:prstGeom prst="rect">
              <a:avLst/>
            </a:prstGeom>
          </p:spPr>
        </p:pic>
        <p:sp>
          <p:nvSpPr>
            <p:cNvPr id="3" name="TextBox 2">
              <a:extLst>
                <a:ext uri="{FF2B5EF4-FFF2-40B4-BE49-F238E27FC236}">
                  <a16:creationId xmlns:a16="http://schemas.microsoft.com/office/drawing/2014/main" id="{C26C7B97-F000-D206-21E2-8B34C5C1E972}"/>
                </a:ext>
              </a:extLst>
            </p:cNvPr>
            <p:cNvSpPr txBox="1"/>
            <p:nvPr/>
          </p:nvSpPr>
          <p:spPr>
            <a:xfrm>
              <a:off x="6704176" y="6029058"/>
              <a:ext cx="5225753" cy="215444"/>
            </a:xfrm>
            <a:prstGeom prst="rect">
              <a:avLst/>
            </a:prstGeom>
            <a:noFill/>
          </p:spPr>
          <p:txBody>
            <a:bodyPr wrap="square" rtlCol="0">
              <a:spAutoFit/>
            </a:bodyPr>
            <a:lstStyle/>
            <a:p>
              <a:pPr algn="r"/>
              <a:r>
                <a:rPr lang="en-GB" sz="800" dirty="0"/>
                <a:t>Source : This file can be found on UpskilPRO.com reference file 8101</a:t>
              </a:r>
            </a:p>
          </p:txBody>
        </p:sp>
      </p:grpSp>
    </p:spTree>
    <p:extLst>
      <p:ext uri="{BB962C8B-B14F-4D97-AF65-F5344CB8AC3E}">
        <p14:creationId xmlns:p14="http://schemas.microsoft.com/office/powerpoint/2010/main" val="35958541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95149BF-FD14-F0B0-C3C3-7E160FCEB44C}"/>
              </a:ext>
            </a:extLst>
          </p:cNvPr>
          <p:cNvGrpSpPr/>
          <p:nvPr/>
        </p:nvGrpSpPr>
        <p:grpSpPr>
          <a:xfrm>
            <a:off x="3441842" y="1304820"/>
            <a:ext cx="5568593" cy="5322012"/>
            <a:chOff x="4379520" y="1716091"/>
            <a:chExt cx="3421848" cy="3428588"/>
          </a:xfrm>
        </p:grpSpPr>
        <p:sp>
          <p:nvSpPr>
            <p:cNvPr id="3" name="Freeform 58">
              <a:extLst>
                <a:ext uri="{FF2B5EF4-FFF2-40B4-BE49-F238E27FC236}">
                  <a16:creationId xmlns:a16="http://schemas.microsoft.com/office/drawing/2014/main" id="{189F6382-0AEA-AF77-3AE7-A86EAEF5A45A}"/>
                </a:ext>
              </a:extLst>
            </p:cNvPr>
            <p:cNvSpPr>
              <a:spLocks/>
            </p:cNvSpPr>
            <p:nvPr/>
          </p:nvSpPr>
          <p:spPr bwMode="auto">
            <a:xfrm>
              <a:off x="4379520" y="1729197"/>
              <a:ext cx="3421848" cy="3415482"/>
            </a:xfrm>
            <a:custGeom>
              <a:avLst/>
              <a:gdLst>
                <a:gd name="T0" fmla="*/ 1076 w 2151"/>
                <a:gd name="T1" fmla="*/ 0 h 2149"/>
                <a:gd name="T2" fmla="*/ 1076 w 2151"/>
                <a:gd name="T3" fmla="*/ 0 h 2149"/>
                <a:gd name="T4" fmla="*/ 1192 w 2151"/>
                <a:gd name="T5" fmla="*/ 7 h 2149"/>
                <a:gd name="T6" fmla="*/ 1305 w 2151"/>
                <a:gd name="T7" fmla="*/ 25 h 2149"/>
                <a:gd name="T8" fmla="*/ 1415 w 2151"/>
                <a:gd name="T9" fmla="*/ 56 h 2149"/>
                <a:gd name="T10" fmla="*/ 1519 w 2151"/>
                <a:gd name="T11" fmla="*/ 95 h 2149"/>
                <a:gd name="T12" fmla="*/ 1617 w 2151"/>
                <a:gd name="T13" fmla="*/ 146 h 2149"/>
                <a:gd name="T14" fmla="*/ 1712 w 2151"/>
                <a:gd name="T15" fmla="*/ 209 h 2149"/>
                <a:gd name="T16" fmla="*/ 1800 w 2151"/>
                <a:gd name="T17" fmla="*/ 281 h 2149"/>
                <a:gd name="T18" fmla="*/ 1879 w 2151"/>
                <a:gd name="T19" fmla="*/ 362 h 2149"/>
                <a:gd name="T20" fmla="*/ 1951 w 2151"/>
                <a:gd name="T21" fmla="*/ 450 h 2149"/>
                <a:gd name="T22" fmla="*/ 2011 w 2151"/>
                <a:gd name="T23" fmla="*/ 545 h 2149"/>
                <a:gd name="T24" fmla="*/ 2060 w 2151"/>
                <a:gd name="T25" fmla="*/ 643 h 2149"/>
                <a:gd name="T26" fmla="*/ 2097 w 2151"/>
                <a:gd name="T27" fmla="*/ 745 h 2149"/>
                <a:gd name="T28" fmla="*/ 2127 w 2151"/>
                <a:gd name="T29" fmla="*/ 852 h 2149"/>
                <a:gd name="T30" fmla="*/ 2144 w 2151"/>
                <a:gd name="T31" fmla="*/ 961 h 2149"/>
                <a:gd name="T32" fmla="*/ 2151 w 2151"/>
                <a:gd name="T33" fmla="*/ 1074 h 2149"/>
                <a:gd name="T34" fmla="*/ 2144 w 2151"/>
                <a:gd name="T35" fmla="*/ 1188 h 2149"/>
                <a:gd name="T36" fmla="*/ 2127 w 2151"/>
                <a:gd name="T37" fmla="*/ 1299 h 2149"/>
                <a:gd name="T38" fmla="*/ 2097 w 2151"/>
                <a:gd name="T39" fmla="*/ 1404 h 2149"/>
                <a:gd name="T40" fmla="*/ 2060 w 2151"/>
                <a:gd name="T41" fmla="*/ 1506 h 2149"/>
                <a:gd name="T42" fmla="*/ 2011 w 2151"/>
                <a:gd name="T43" fmla="*/ 1603 h 2149"/>
                <a:gd name="T44" fmla="*/ 1949 w 2151"/>
                <a:gd name="T45" fmla="*/ 1701 h 2149"/>
                <a:gd name="T46" fmla="*/ 1877 w 2151"/>
                <a:gd name="T47" fmla="*/ 1789 h 2149"/>
                <a:gd name="T48" fmla="*/ 1795 w 2151"/>
                <a:gd name="T49" fmla="*/ 1873 h 2149"/>
                <a:gd name="T50" fmla="*/ 1707 w 2151"/>
                <a:gd name="T51" fmla="*/ 1944 h 2149"/>
                <a:gd name="T52" fmla="*/ 1610 w 2151"/>
                <a:gd name="T53" fmla="*/ 2007 h 2149"/>
                <a:gd name="T54" fmla="*/ 1512 w 2151"/>
                <a:gd name="T55" fmla="*/ 2056 h 2149"/>
                <a:gd name="T56" fmla="*/ 1410 w 2151"/>
                <a:gd name="T57" fmla="*/ 2095 h 2149"/>
                <a:gd name="T58" fmla="*/ 1301 w 2151"/>
                <a:gd name="T59" fmla="*/ 2125 h 2149"/>
                <a:gd name="T60" fmla="*/ 1189 w 2151"/>
                <a:gd name="T61" fmla="*/ 2142 h 2149"/>
                <a:gd name="T62" fmla="*/ 1076 w 2151"/>
                <a:gd name="T63" fmla="*/ 2149 h 2149"/>
                <a:gd name="T64" fmla="*/ 1076 w 2151"/>
                <a:gd name="T65" fmla="*/ 2149 h 2149"/>
                <a:gd name="T66" fmla="*/ 959 w 2151"/>
                <a:gd name="T67" fmla="*/ 2142 h 2149"/>
                <a:gd name="T68" fmla="*/ 846 w 2151"/>
                <a:gd name="T69" fmla="*/ 2123 h 2149"/>
                <a:gd name="T70" fmla="*/ 737 w 2151"/>
                <a:gd name="T71" fmla="*/ 2093 h 2149"/>
                <a:gd name="T72" fmla="*/ 632 w 2151"/>
                <a:gd name="T73" fmla="*/ 2054 h 2149"/>
                <a:gd name="T74" fmla="*/ 535 w 2151"/>
                <a:gd name="T75" fmla="*/ 2003 h 2149"/>
                <a:gd name="T76" fmla="*/ 439 w 2151"/>
                <a:gd name="T77" fmla="*/ 1940 h 2149"/>
                <a:gd name="T78" fmla="*/ 351 w 2151"/>
                <a:gd name="T79" fmla="*/ 1868 h 2149"/>
                <a:gd name="T80" fmla="*/ 272 w 2151"/>
                <a:gd name="T81" fmla="*/ 1787 h 2149"/>
                <a:gd name="T82" fmla="*/ 200 w 2151"/>
                <a:gd name="T83" fmla="*/ 1699 h 2149"/>
                <a:gd name="T84" fmla="*/ 140 w 2151"/>
                <a:gd name="T85" fmla="*/ 1603 h 2149"/>
                <a:gd name="T86" fmla="*/ 91 w 2151"/>
                <a:gd name="T87" fmla="*/ 1506 h 2149"/>
                <a:gd name="T88" fmla="*/ 52 w 2151"/>
                <a:gd name="T89" fmla="*/ 1404 h 2149"/>
                <a:gd name="T90" fmla="*/ 24 w 2151"/>
                <a:gd name="T91" fmla="*/ 1299 h 2149"/>
                <a:gd name="T92" fmla="*/ 7 w 2151"/>
                <a:gd name="T93" fmla="*/ 1188 h 2149"/>
                <a:gd name="T94" fmla="*/ 0 w 2151"/>
                <a:gd name="T95" fmla="*/ 1074 h 2149"/>
                <a:gd name="T96" fmla="*/ 7 w 2151"/>
                <a:gd name="T97" fmla="*/ 961 h 2149"/>
                <a:gd name="T98" fmla="*/ 24 w 2151"/>
                <a:gd name="T99" fmla="*/ 852 h 2149"/>
                <a:gd name="T100" fmla="*/ 52 w 2151"/>
                <a:gd name="T101" fmla="*/ 745 h 2149"/>
                <a:gd name="T102" fmla="*/ 91 w 2151"/>
                <a:gd name="T103" fmla="*/ 643 h 2149"/>
                <a:gd name="T104" fmla="*/ 140 w 2151"/>
                <a:gd name="T105" fmla="*/ 548 h 2149"/>
                <a:gd name="T106" fmla="*/ 202 w 2151"/>
                <a:gd name="T107" fmla="*/ 450 h 2149"/>
                <a:gd name="T108" fmla="*/ 274 w 2151"/>
                <a:gd name="T109" fmla="*/ 360 h 2149"/>
                <a:gd name="T110" fmla="*/ 356 w 2151"/>
                <a:gd name="T111" fmla="*/ 278 h 2149"/>
                <a:gd name="T112" fmla="*/ 444 w 2151"/>
                <a:gd name="T113" fmla="*/ 204 h 2149"/>
                <a:gd name="T114" fmla="*/ 541 w 2151"/>
                <a:gd name="T115" fmla="*/ 141 h 2149"/>
                <a:gd name="T116" fmla="*/ 639 w 2151"/>
                <a:gd name="T117" fmla="*/ 93 h 2149"/>
                <a:gd name="T118" fmla="*/ 741 w 2151"/>
                <a:gd name="T119" fmla="*/ 53 h 2149"/>
                <a:gd name="T120" fmla="*/ 850 w 2151"/>
                <a:gd name="T121" fmla="*/ 25 h 2149"/>
                <a:gd name="T122" fmla="*/ 959 w 2151"/>
                <a:gd name="T123" fmla="*/ 7 h 2149"/>
                <a:gd name="T124" fmla="*/ 1076 w 2151"/>
                <a:gd name="T125" fmla="*/ 0 h 2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51" h="2149">
                  <a:moveTo>
                    <a:pt x="1076" y="0"/>
                  </a:moveTo>
                  <a:lnTo>
                    <a:pt x="1076" y="0"/>
                  </a:lnTo>
                  <a:lnTo>
                    <a:pt x="1192" y="7"/>
                  </a:lnTo>
                  <a:lnTo>
                    <a:pt x="1305" y="25"/>
                  </a:lnTo>
                  <a:lnTo>
                    <a:pt x="1415" y="56"/>
                  </a:lnTo>
                  <a:lnTo>
                    <a:pt x="1519" y="95"/>
                  </a:lnTo>
                  <a:lnTo>
                    <a:pt x="1617" y="146"/>
                  </a:lnTo>
                  <a:lnTo>
                    <a:pt x="1712" y="209"/>
                  </a:lnTo>
                  <a:lnTo>
                    <a:pt x="1800" y="281"/>
                  </a:lnTo>
                  <a:lnTo>
                    <a:pt x="1879" y="362"/>
                  </a:lnTo>
                  <a:lnTo>
                    <a:pt x="1951" y="450"/>
                  </a:lnTo>
                  <a:lnTo>
                    <a:pt x="2011" y="545"/>
                  </a:lnTo>
                  <a:lnTo>
                    <a:pt x="2060" y="643"/>
                  </a:lnTo>
                  <a:lnTo>
                    <a:pt x="2097" y="745"/>
                  </a:lnTo>
                  <a:lnTo>
                    <a:pt x="2127" y="852"/>
                  </a:lnTo>
                  <a:lnTo>
                    <a:pt x="2144" y="961"/>
                  </a:lnTo>
                  <a:lnTo>
                    <a:pt x="2151" y="1074"/>
                  </a:lnTo>
                  <a:lnTo>
                    <a:pt x="2144" y="1188"/>
                  </a:lnTo>
                  <a:lnTo>
                    <a:pt x="2127" y="1299"/>
                  </a:lnTo>
                  <a:lnTo>
                    <a:pt x="2097" y="1404"/>
                  </a:lnTo>
                  <a:lnTo>
                    <a:pt x="2060" y="1506"/>
                  </a:lnTo>
                  <a:lnTo>
                    <a:pt x="2011" y="1603"/>
                  </a:lnTo>
                  <a:lnTo>
                    <a:pt x="1949" y="1701"/>
                  </a:lnTo>
                  <a:lnTo>
                    <a:pt x="1877" y="1789"/>
                  </a:lnTo>
                  <a:lnTo>
                    <a:pt x="1795" y="1873"/>
                  </a:lnTo>
                  <a:lnTo>
                    <a:pt x="1707" y="1944"/>
                  </a:lnTo>
                  <a:lnTo>
                    <a:pt x="1610" y="2007"/>
                  </a:lnTo>
                  <a:lnTo>
                    <a:pt x="1512" y="2056"/>
                  </a:lnTo>
                  <a:lnTo>
                    <a:pt x="1410" y="2095"/>
                  </a:lnTo>
                  <a:lnTo>
                    <a:pt x="1301" y="2125"/>
                  </a:lnTo>
                  <a:lnTo>
                    <a:pt x="1189" y="2142"/>
                  </a:lnTo>
                  <a:lnTo>
                    <a:pt x="1076" y="2149"/>
                  </a:lnTo>
                  <a:lnTo>
                    <a:pt x="1076" y="2149"/>
                  </a:lnTo>
                  <a:lnTo>
                    <a:pt x="959" y="2142"/>
                  </a:lnTo>
                  <a:lnTo>
                    <a:pt x="846" y="2123"/>
                  </a:lnTo>
                  <a:lnTo>
                    <a:pt x="737" y="2093"/>
                  </a:lnTo>
                  <a:lnTo>
                    <a:pt x="632" y="2054"/>
                  </a:lnTo>
                  <a:lnTo>
                    <a:pt x="535" y="2003"/>
                  </a:lnTo>
                  <a:lnTo>
                    <a:pt x="439" y="1940"/>
                  </a:lnTo>
                  <a:lnTo>
                    <a:pt x="351" y="1868"/>
                  </a:lnTo>
                  <a:lnTo>
                    <a:pt x="272" y="1787"/>
                  </a:lnTo>
                  <a:lnTo>
                    <a:pt x="200" y="1699"/>
                  </a:lnTo>
                  <a:lnTo>
                    <a:pt x="140" y="1603"/>
                  </a:lnTo>
                  <a:lnTo>
                    <a:pt x="91" y="1506"/>
                  </a:lnTo>
                  <a:lnTo>
                    <a:pt x="52" y="1404"/>
                  </a:lnTo>
                  <a:lnTo>
                    <a:pt x="24" y="1299"/>
                  </a:lnTo>
                  <a:lnTo>
                    <a:pt x="7" y="1188"/>
                  </a:lnTo>
                  <a:lnTo>
                    <a:pt x="0" y="1074"/>
                  </a:lnTo>
                  <a:lnTo>
                    <a:pt x="7" y="961"/>
                  </a:lnTo>
                  <a:lnTo>
                    <a:pt x="24" y="852"/>
                  </a:lnTo>
                  <a:lnTo>
                    <a:pt x="52" y="745"/>
                  </a:lnTo>
                  <a:lnTo>
                    <a:pt x="91" y="643"/>
                  </a:lnTo>
                  <a:lnTo>
                    <a:pt x="140" y="548"/>
                  </a:lnTo>
                  <a:lnTo>
                    <a:pt x="202" y="450"/>
                  </a:lnTo>
                  <a:lnTo>
                    <a:pt x="274" y="360"/>
                  </a:lnTo>
                  <a:lnTo>
                    <a:pt x="356" y="278"/>
                  </a:lnTo>
                  <a:lnTo>
                    <a:pt x="444" y="204"/>
                  </a:lnTo>
                  <a:lnTo>
                    <a:pt x="541" y="141"/>
                  </a:lnTo>
                  <a:lnTo>
                    <a:pt x="639" y="93"/>
                  </a:lnTo>
                  <a:lnTo>
                    <a:pt x="741" y="53"/>
                  </a:lnTo>
                  <a:lnTo>
                    <a:pt x="850" y="25"/>
                  </a:lnTo>
                  <a:lnTo>
                    <a:pt x="959" y="7"/>
                  </a:lnTo>
                  <a:lnTo>
                    <a:pt x="1076" y="0"/>
                  </a:lnTo>
                  <a:close/>
                </a:path>
              </a:pathLst>
            </a:custGeom>
            <a:solidFill>
              <a:schemeClr val="bg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grpSp>
          <p:nvGrpSpPr>
            <p:cNvPr id="4" name="Group 3">
              <a:extLst>
                <a:ext uri="{FF2B5EF4-FFF2-40B4-BE49-F238E27FC236}">
                  <a16:creationId xmlns:a16="http://schemas.microsoft.com/office/drawing/2014/main" id="{57FFD638-4637-48B6-242F-363927189750}"/>
                </a:ext>
              </a:extLst>
            </p:cNvPr>
            <p:cNvGrpSpPr/>
            <p:nvPr/>
          </p:nvGrpSpPr>
          <p:grpSpPr>
            <a:xfrm>
              <a:off x="4387458" y="1716091"/>
              <a:ext cx="3413910" cy="3417855"/>
              <a:chOff x="4387458" y="1722047"/>
              <a:chExt cx="3413910" cy="3413908"/>
            </a:xfrm>
            <a:effectLst>
              <a:outerShdw blurRad="292100" sx="108000" sy="108000" algn="ctr" rotWithShape="0">
                <a:prstClr val="black">
                  <a:alpha val="40000"/>
                </a:prstClr>
              </a:outerShdw>
            </a:effectLst>
          </p:grpSpPr>
          <p:sp>
            <p:nvSpPr>
              <p:cNvPr id="6" name="Freeform 64">
                <a:extLst>
                  <a:ext uri="{FF2B5EF4-FFF2-40B4-BE49-F238E27FC236}">
                    <a16:creationId xmlns:a16="http://schemas.microsoft.com/office/drawing/2014/main" id="{15C14573-4E20-9682-60A3-741786CF2A17}"/>
                  </a:ext>
                </a:extLst>
              </p:cNvPr>
              <p:cNvSpPr>
                <a:spLocks/>
              </p:cNvSpPr>
              <p:nvPr/>
            </p:nvSpPr>
            <p:spPr bwMode="auto">
              <a:xfrm>
                <a:off x="6094937" y="1722047"/>
                <a:ext cx="859497" cy="842747"/>
              </a:xfrm>
              <a:custGeom>
                <a:avLst/>
                <a:gdLst>
                  <a:gd name="T0" fmla="*/ 0 w 1642"/>
                  <a:gd name="T1" fmla="*/ 0 h 1610"/>
                  <a:gd name="T2" fmla="*/ 198 w 1642"/>
                  <a:gd name="T3" fmla="*/ 6 h 1610"/>
                  <a:gd name="T4" fmla="*/ 392 w 1642"/>
                  <a:gd name="T5" fmla="*/ 22 h 1610"/>
                  <a:gd name="T6" fmla="*/ 584 w 1642"/>
                  <a:gd name="T7" fmla="*/ 51 h 1610"/>
                  <a:gd name="T8" fmla="*/ 772 w 1642"/>
                  <a:gd name="T9" fmla="*/ 91 h 1610"/>
                  <a:gd name="T10" fmla="*/ 955 w 1642"/>
                  <a:gd name="T11" fmla="*/ 142 h 1610"/>
                  <a:gd name="T12" fmla="*/ 1134 w 1642"/>
                  <a:gd name="T13" fmla="*/ 202 h 1610"/>
                  <a:gd name="T14" fmla="*/ 1310 w 1642"/>
                  <a:gd name="T15" fmla="*/ 273 h 1610"/>
                  <a:gd name="T16" fmla="*/ 1478 w 1642"/>
                  <a:gd name="T17" fmla="*/ 352 h 1610"/>
                  <a:gd name="T18" fmla="*/ 1642 w 1642"/>
                  <a:gd name="T19" fmla="*/ 441 h 1610"/>
                  <a:gd name="T20" fmla="*/ 961 w 1642"/>
                  <a:gd name="T21" fmla="*/ 1610 h 1610"/>
                  <a:gd name="T22" fmla="*/ 837 w 1642"/>
                  <a:gd name="T23" fmla="*/ 1543 h 1610"/>
                  <a:gd name="T24" fmla="*/ 708 w 1642"/>
                  <a:gd name="T25" fmla="*/ 1486 h 1610"/>
                  <a:gd name="T26" fmla="*/ 574 w 1642"/>
                  <a:gd name="T27" fmla="*/ 1438 h 1610"/>
                  <a:gd name="T28" fmla="*/ 437 w 1642"/>
                  <a:gd name="T29" fmla="*/ 1400 h 1610"/>
                  <a:gd name="T30" fmla="*/ 295 w 1642"/>
                  <a:gd name="T31" fmla="*/ 1373 h 1610"/>
                  <a:gd name="T32" fmla="*/ 148 w 1642"/>
                  <a:gd name="T33" fmla="*/ 1355 h 1610"/>
                  <a:gd name="T34" fmla="*/ 0 w 1642"/>
                  <a:gd name="T35" fmla="*/ 1349 h 1610"/>
                  <a:gd name="T36" fmla="*/ 0 w 1642"/>
                  <a:gd name="T37" fmla="*/ 0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42" h="1610">
                    <a:moveTo>
                      <a:pt x="0" y="0"/>
                    </a:moveTo>
                    <a:lnTo>
                      <a:pt x="198" y="6"/>
                    </a:lnTo>
                    <a:lnTo>
                      <a:pt x="392" y="22"/>
                    </a:lnTo>
                    <a:lnTo>
                      <a:pt x="584" y="51"/>
                    </a:lnTo>
                    <a:lnTo>
                      <a:pt x="772" y="91"/>
                    </a:lnTo>
                    <a:lnTo>
                      <a:pt x="955" y="142"/>
                    </a:lnTo>
                    <a:lnTo>
                      <a:pt x="1134" y="202"/>
                    </a:lnTo>
                    <a:lnTo>
                      <a:pt x="1310" y="273"/>
                    </a:lnTo>
                    <a:lnTo>
                      <a:pt x="1478" y="352"/>
                    </a:lnTo>
                    <a:lnTo>
                      <a:pt x="1642" y="441"/>
                    </a:lnTo>
                    <a:lnTo>
                      <a:pt x="961" y="1610"/>
                    </a:lnTo>
                    <a:lnTo>
                      <a:pt x="837" y="1543"/>
                    </a:lnTo>
                    <a:lnTo>
                      <a:pt x="708" y="1486"/>
                    </a:lnTo>
                    <a:lnTo>
                      <a:pt x="574" y="1438"/>
                    </a:lnTo>
                    <a:lnTo>
                      <a:pt x="437" y="1400"/>
                    </a:lnTo>
                    <a:lnTo>
                      <a:pt x="295" y="1373"/>
                    </a:lnTo>
                    <a:lnTo>
                      <a:pt x="148" y="1355"/>
                    </a:lnTo>
                    <a:lnTo>
                      <a:pt x="0" y="1349"/>
                    </a:lnTo>
                    <a:lnTo>
                      <a:pt x="0" y="0"/>
                    </a:lnTo>
                    <a:close/>
                  </a:path>
                </a:pathLst>
              </a:custGeom>
              <a:gradFill>
                <a:gsLst>
                  <a:gs pos="86000">
                    <a:schemeClr val="bg1">
                      <a:lumMod val="85000"/>
                    </a:schemeClr>
                  </a:gs>
                  <a:gs pos="20000">
                    <a:schemeClr val="bg1">
                      <a:lumMod val="95000"/>
                    </a:schemeClr>
                  </a:gs>
                </a:gsLst>
                <a:lin ang="108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 name="Freeform 65">
                <a:extLst>
                  <a:ext uri="{FF2B5EF4-FFF2-40B4-BE49-F238E27FC236}">
                    <a16:creationId xmlns:a16="http://schemas.microsoft.com/office/drawing/2014/main" id="{1BB469A0-A199-C3A5-7F77-86FDEBC10498}"/>
                  </a:ext>
                </a:extLst>
              </p:cNvPr>
              <p:cNvSpPr>
                <a:spLocks/>
              </p:cNvSpPr>
              <p:nvPr/>
            </p:nvSpPr>
            <p:spPr bwMode="auto">
              <a:xfrm>
                <a:off x="4387458" y="2589918"/>
                <a:ext cx="836466" cy="838559"/>
              </a:xfrm>
              <a:custGeom>
                <a:avLst/>
                <a:gdLst>
                  <a:gd name="T0" fmla="*/ 421 w 1598"/>
                  <a:gd name="T1" fmla="*/ 0 h 1602"/>
                  <a:gd name="T2" fmla="*/ 1598 w 1598"/>
                  <a:gd name="T3" fmla="*/ 662 h 1602"/>
                  <a:gd name="T4" fmla="*/ 1535 w 1598"/>
                  <a:gd name="T5" fmla="*/ 785 h 1602"/>
                  <a:gd name="T6" fmla="*/ 1480 w 1598"/>
                  <a:gd name="T7" fmla="*/ 912 h 1602"/>
                  <a:gd name="T8" fmla="*/ 1434 w 1598"/>
                  <a:gd name="T9" fmla="*/ 1042 h 1602"/>
                  <a:gd name="T10" fmla="*/ 1399 w 1598"/>
                  <a:gd name="T11" fmla="*/ 1177 h 1602"/>
                  <a:gd name="T12" fmla="*/ 1373 w 1598"/>
                  <a:gd name="T13" fmla="*/ 1315 h 1602"/>
                  <a:gd name="T14" fmla="*/ 1355 w 1598"/>
                  <a:gd name="T15" fmla="*/ 1458 h 1602"/>
                  <a:gd name="T16" fmla="*/ 1351 w 1598"/>
                  <a:gd name="T17" fmla="*/ 1602 h 1602"/>
                  <a:gd name="T18" fmla="*/ 0 w 1598"/>
                  <a:gd name="T19" fmla="*/ 1602 h 1602"/>
                  <a:gd name="T20" fmla="*/ 6 w 1598"/>
                  <a:gd name="T21" fmla="*/ 1410 h 1602"/>
                  <a:gd name="T22" fmla="*/ 22 w 1598"/>
                  <a:gd name="T23" fmla="*/ 1220 h 1602"/>
                  <a:gd name="T24" fmla="*/ 49 w 1598"/>
                  <a:gd name="T25" fmla="*/ 1032 h 1602"/>
                  <a:gd name="T26" fmla="*/ 87 w 1598"/>
                  <a:gd name="T27" fmla="*/ 850 h 1602"/>
                  <a:gd name="T28" fmla="*/ 135 w 1598"/>
                  <a:gd name="T29" fmla="*/ 670 h 1602"/>
                  <a:gd name="T30" fmla="*/ 192 w 1598"/>
                  <a:gd name="T31" fmla="*/ 496 h 1602"/>
                  <a:gd name="T32" fmla="*/ 259 w 1598"/>
                  <a:gd name="T33" fmla="*/ 326 h 1602"/>
                  <a:gd name="T34" fmla="*/ 336 w 1598"/>
                  <a:gd name="T35" fmla="*/ 160 h 1602"/>
                  <a:gd name="T36" fmla="*/ 421 w 1598"/>
                  <a:gd name="T37" fmla="*/ 0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8" h="1602">
                    <a:moveTo>
                      <a:pt x="421" y="0"/>
                    </a:moveTo>
                    <a:lnTo>
                      <a:pt x="1598" y="662"/>
                    </a:lnTo>
                    <a:lnTo>
                      <a:pt x="1535" y="785"/>
                    </a:lnTo>
                    <a:lnTo>
                      <a:pt x="1480" y="912"/>
                    </a:lnTo>
                    <a:lnTo>
                      <a:pt x="1434" y="1042"/>
                    </a:lnTo>
                    <a:lnTo>
                      <a:pt x="1399" y="1177"/>
                    </a:lnTo>
                    <a:lnTo>
                      <a:pt x="1373" y="1315"/>
                    </a:lnTo>
                    <a:lnTo>
                      <a:pt x="1355" y="1458"/>
                    </a:lnTo>
                    <a:lnTo>
                      <a:pt x="1351" y="1602"/>
                    </a:lnTo>
                    <a:lnTo>
                      <a:pt x="0" y="1602"/>
                    </a:lnTo>
                    <a:lnTo>
                      <a:pt x="6" y="1410"/>
                    </a:lnTo>
                    <a:lnTo>
                      <a:pt x="22" y="1220"/>
                    </a:lnTo>
                    <a:lnTo>
                      <a:pt x="49" y="1032"/>
                    </a:lnTo>
                    <a:lnTo>
                      <a:pt x="87" y="850"/>
                    </a:lnTo>
                    <a:lnTo>
                      <a:pt x="135" y="670"/>
                    </a:lnTo>
                    <a:lnTo>
                      <a:pt x="192" y="496"/>
                    </a:lnTo>
                    <a:lnTo>
                      <a:pt x="259" y="326"/>
                    </a:lnTo>
                    <a:lnTo>
                      <a:pt x="336" y="160"/>
                    </a:lnTo>
                    <a:lnTo>
                      <a:pt x="421" y="0"/>
                    </a:lnTo>
                    <a:close/>
                  </a:path>
                </a:pathLst>
              </a:custGeom>
              <a:gradFill>
                <a:gsLst>
                  <a:gs pos="100000">
                    <a:schemeClr val="bg1">
                      <a:lumMod val="85000"/>
                    </a:schemeClr>
                  </a:gs>
                  <a:gs pos="60000">
                    <a:schemeClr val="bg1">
                      <a:lumMod val="95000"/>
                    </a:schemeClr>
                  </a:gs>
                </a:gsLst>
                <a:lin ang="54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8" name="Freeform 66">
                <a:extLst>
                  <a:ext uri="{FF2B5EF4-FFF2-40B4-BE49-F238E27FC236}">
                    <a16:creationId xmlns:a16="http://schemas.microsoft.com/office/drawing/2014/main" id="{38C60E54-8C88-2214-523D-38040652D08F}"/>
                  </a:ext>
                </a:extLst>
              </p:cNvPr>
              <p:cNvSpPr>
                <a:spLocks/>
              </p:cNvSpPr>
              <p:nvPr/>
            </p:nvSpPr>
            <p:spPr bwMode="auto">
              <a:xfrm>
                <a:off x="4608352" y="1947128"/>
                <a:ext cx="989312" cy="989311"/>
              </a:xfrm>
              <a:custGeom>
                <a:avLst/>
                <a:gdLst>
                  <a:gd name="T0" fmla="*/ 1223 w 1891"/>
                  <a:gd name="T1" fmla="*/ 0 h 1891"/>
                  <a:gd name="T2" fmla="*/ 1891 w 1891"/>
                  <a:gd name="T3" fmla="*/ 1173 h 1891"/>
                  <a:gd name="T4" fmla="*/ 1767 w 1891"/>
                  <a:gd name="T5" fmla="*/ 1250 h 1891"/>
                  <a:gd name="T6" fmla="*/ 1650 w 1891"/>
                  <a:gd name="T7" fmla="*/ 1337 h 1891"/>
                  <a:gd name="T8" fmla="*/ 1539 w 1891"/>
                  <a:gd name="T9" fmla="*/ 1432 h 1891"/>
                  <a:gd name="T10" fmla="*/ 1435 w 1891"/>
                  <a:gd name="T11" fmla="*/ 1537 h 1891"/>
                  <a:gd name="T12" fmla="*/ 1340 w 1891"/>
                  <a:gd name="T13" fmla="*/ 1648 h 1891"/>
                  <a:gd name="T14" fmla="*/ 1255 w 1891"/>
                  <a:gd name="T15" fmla="*/ 1767 h 1891"/>
                  <a:gd name="T16" fmla="*/ 1177 w 1891"/>
                  <a:gd name="T17" fmla="*/ 1891 h 1891"/>
                  <a:gd name="T18" fmla="*/ 0 w 1891"/>
                  <a:gd name="T19" fmla="*/ 1229 h 1891"/>
                  <a:gd name="T20" fmla="*/ 91 w 1891"/>
                  <a:gd name="T21" fmla="*/ 1076 h 1891"/>
                  <a:gd name="T22" fmla="*/ 188 w 1891"/>
                  <a:gd name="T23" fmla="*/ 932 h 1891"/>
                  <a:gd name="T24" fmla="*/ 295 w 1891"/>
                  <a:gd name="T25" fmla="*/ 791 h 1891"/>
                  <a:gd name="T26" fmla="*/ 408 w 1891"/>
                  <a:gd name="T27" fmla="*/ 659 h 1891"/>
                  <a:gd name="T28" fmla="*/ 529 w 1891"/>
                  <a:gd name="T29" fmla="*/ 532 h 1891"/>
                  <a:gd name="T30" fmla="*/ 655 w 1891"/>
                  <a:gd name="T31" fmla="*/ 412 h 1891"/>
                  <a:gd name="T32" fmla="*/ 788 w 1891"/>
                  <a:gd name="T33" fmla="*/ 297 h 1891"/>
                  <a:gd name="T34" fmla="*/ 926 w 1891"/>
                  <a:gd name="T35" fmla="*/ 190 h 1891"/>
                  <a:gd name="T36" fmla="*/ 1073 w 1891"/>
                  <a:gd name="T37" fmla="*/ 91 h 1891"/>
                  <a:gd name="T38" fmla="*/ 1223 w 1891"/>
                  <a:gd name="T39" fmla="*/ 0 h 1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91" h="1891">
                    <a:moveTo>
                      <a:pt x="1223" y="0"/>
                    </a:moveTo>
                    <a:lnTo>
                      <a:pt x="1891" y="1173"/>
                    </a:lnTo>
                    <a:lnTo>
                      <a:pt x="1767" y="1250"/>
                    </a:lnTo>
                    <a:lnTo>
                      <a:pt x="1650" y="1337"/>
                    </a:lnTo>
                    <a:lnTo>
                      <a:pt x="1539" y="1432"/>
                    </a:lnTo>
                    <a:lnTo>
                      <a:pt x="1435" y="1537"/>
                    </a:lnTo>
                    <a:lnTo>
                      <a:pt x="1340" y="1648"/>
                    </a:lnTo>
                    <a:lnTo>
                      <a:pt x="1255" y="1767"/>
                    </a:lnTo>
                    <a:lnTo>
                      <a:pt x="1177" y="1891"/>
                    </a:lnTo>
                    <a:lnTo>
                      <a:pt x="0" y="1229"/>
                    </a:lnTo>
                    <a:lnTo>
                      <a:pt x="91" y="1076"/>
                    </a:lnTo>
                    <a:lnTo>
                      <a:pt x="188" y="932"/>
                    </a:lnTo>
                    <a:lnTo>
                      <a:pt x="295" y="791"/>
                    </a:lnTo>
                    <a:lnTo>
                      <a:pt x="408" y="659"/>
                    </a:lnTo>
                    <a:lnTo>
                      <a:pt x="529" y="532"/>
                    </a:lnTo>
                    <a:lnTo>
                      <a:pt x="655" y="412"/>
                    </a:lnTo>
                    <a:lnTo>
                      <a:pt x="788" y="297"/>
                    </a:lnTo>
                    <a:lnTo>
                      <a:pt x="926" y="190"/>
                    </a:lnTo>
                    <a:lnTo>
                      <a:pt x="1073" y="91"/>
                    </a:lnTo>
                    <a:lnTo>
                      <a:pt x="1223" y="0"/>
                    </a:lnTo>
                    <a:close/>
                  </a:path>
                </a:pathLst>
              </a:custGeom>
              <a:gradFill>
                <a:gsLst>
                  <a:gs pos="86000">
                    <a:schemeClr val="bg1">
                      <a:lumMod val="85000"/>
                    </a:schemeClr>
                  </a:gs>
                  <a:gs pos="17000">
                    <a:schemeClr val="bg1">
                      <a:lumMod val="95000"/>
                    </a:schemeClr>
                  </a:gs>
                </a:gsLst>
                <a:lin ang="108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9" name="Freeform 67">
                <a:extLst>
                  <a:ext uri="{FF2B5EF4-FFF2-40B4-BE49-F238E27FC236}">
                    <a16:creationId xmlns:a16="http://schemas.microsoft.com/office/drawing/2014/main" id="{2EFFA85B-2674-9CF7-CF63-60D69597F2B6}"/>
                  </a:ext>
                </a:extLst>
              </p:cNvPr>
              <p:cNvSpPr>
                <a:spLocks/>
              </p:cNvSpPr>
              <p:nvPr/>
            </p:nvSpPr>
            <p:spPr bwMode="auto">
              <a:xfrm>
                <a:off x="4387458" y="3428477"/>
                <a:ext cx="836466" cy="839606"/>
              </a:xfrm>
              <a:custGeom>
                <a:avLst/>
                <a:gdLst>
                  <a:gd name="T0" fmla="*/ 0 w 1598"/>
                  <a:gd name="T1" fmla="*/ 0 h 1604"/>
                  <a:gd name="T2" fmla="*/ 1351 w 1598"/>
                  <a:gd name="T3" fmla="*/ 0 h 1604"/>
                  <a:gd name="T4" fmla="*/ 1355 w 1598"/>
                  <a:gd name="T5" fmla="*/ 146 h 1604"/>
                  <a:gd name="T6" fmla="*/ 1373 w 1598"/>
                  <a:gd name="T7" fmla="*/ 289 h 1604"/>
                  <a:gd name="T8" fmla="*/ 1399 w 1598"/>
                  <a:gd name="T9" fmla="*/ 427 h 1604"/>
                  <a:gd name="T10" fmla="*/ 1434 w 1598"/>
                  <a:gd name="T11" fmla="*/ 562 h 1604"/>
                  <a:gd name="T12" fmla="*/ 1480 w 1598"/>
                  <a:gd name="T13" fmla="*/ 692 h 1604"/>
                  <a:gd name="T14" fmla="*/ 1535 w 1598"/>
                  <a:gd name="T15" fmla="*/ 819 h 1604"/>
                  <a:gd name="T16" fmla="*/ 1598 w 1598"/>
                  <a:gd name="T17" fmla="*/ 940 h 1604"/>
                  <a:gd name="T18" fmla="*/ 421 w 1598"/>
                  <a:gd name="T19" fmla="*/ 1604 h 1604"/>
                  <a:gd name="T20" fmla="*/ 336 w 1598"/>
                  <a:gd name="T21" fmla="*/ 1444 h 1604"/>
                  <a:gd name="T22" fmla="*/ 261 w 1598"/>
                  <a:gd name="T23" fmla="*/ 1280 h 1604"/>
                  <a:gd name="T24" fmla="*/ 194 w 1598"/>
                  <a:gd name="T25" fmla="*/ 1108 h 1604"/>
                  <a:gd name="T26" fmla="*/ 135 w 1598"/>
                  <a:gd name="T27" fmla="*/ 934 h 1604"/>
                  <a:gd name="T28" fmla="*/ 87 w 1598"/>
                  <a:gd name="T29" fmla="*/ 754 h 1604"/>
                  <a:gd name="T30" fmla="*/ 49 w 1598"/>
                  <a:gd name="T31" fmla="*/ 570 h 1604"/>
                  <a:gd name="T32" fmla="*/ 22 w 1598"/>
                  <a:gd name="T33" fmla="*/ 384 h 1604"/>
                  <a:gd name="T34" fmla="*/ 6 w 1598"/>
                  <a:gd name="T35" fmla="*/ 194 h 1604"/>
                  <a:gd name="T36" fmla="*/ 0 w 1598"/>
                  <a:gd name="T37" fmla="*/ 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8" h="1604">
                    <a:moveTo>
                      <a:pt x="0" y="0"/>
                    </a:moveTo>
                    <a:lnTo>
                      <a:pt x="1351" y="0"/>
                    </a:lnTo>
                    <a:lnTo>
                      <a:pt x="1355" y="146"/>
                    </a:lnTo>
                    <a:lnTo>
                      <a:pt x="1373" y="289"/>
                    </a:lnTo>
                    <a:lnTo>
                      <a:pt x="1399" y="427"/>
                    </a:lnTo>
                    <a:lnTo>
                      <a:pt x="1434" y="562"/>
                    </a:lnTo>
                    <a:lnTo>
                      <a:pt x="1480" y="692"/>
                    </a:lnTo>
                    <a:lnTo>
                      <a:pt x="1535" y="819"/>
                    </a:lnTo>
                    <a:lnTo>
                      <a:pt x="1598" y="940"/>
                    </a:lnTo>
                    <a:lnTo>
                      <a:pt x="421" y="1604"/>
                    </a:lnTo>
                    <a:lnTo>
                      <a:pt x="336" y="1444"/>
                    </a:lnTo>
                    <a:lnTo>
                      <a:pt x="261" y="1280"/>
                    </a:lnTo>
                    <a:lnTo>
                      <a:pt x="194" y="1108"/>
                    </a:lnTo>
                    <a:lnTo>
                      <a:pt x="135" y="934"/>
                    </a:lnTo>
                    <a:lnTo>
                      <a:pt x="87" y="754"/>
                    </a:lnTo>
                    <a:lnTo>
                      <a:pt x="49" y="570"/>
                    </a:lnTo>
                    <a:lnTo>
                      <a:pt x="22" y="384"/>
                    </a:lnTo>
                    <a:lnTo>
                      <a:pt x="6" y="194"/>
                    </a:lnTo>
                    <a:lnTo>
                      <a:pt x="0" y="0"/>
                    </a:lnTo>
                    <a:close/>
                  </a:path>
                </a:pathLst>
              </a:custGeom>
              <a:gradFill>
                <a:gsLst>
                  <a:gs pos="49000">
                    <a:schemeClr val="bg1">
                      <a:lumMod val="85000"/>
                    </a:schemeClr>
                  </a:gs>
                  <a:gs pos="29000">
                    <a:schemeClr val="bg1">
                      <a:lumMod val="95000"/>
                    </a:schemeClr>
                  </a:gs>
                </a:gsLst>
                <a:lin ang="396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10" name="Freeform 68">
                <a:extLst>
                  <a:ext uri="{FF2B5EF4-FFF2-40B4-BE49-F238E27FC236}">
                    <a16:creationId xmlns:a16="http://schemas.microsoft.com/office/drawing/2014/main" id="{CD6C2E99-78C4-D26C-DACB-79E66CAAFA22}"/>
                  </a:ext>
                </a:extLst>
              </p:cNvPr>
              <p:cNvSpPr>
                <a:spLocks/>
              </p:cNvSpPr>
              <p:nvPr/>
            </p:nvSpPr>
            <p:spPr bwMode="auto">
              <a:xfrm>
                <a:off x="5248002" y="1722047"/>
                <a:ext cx="846935" cy="838559"/>
              </a:xfrm>
              <a:custGeom>
                <a:avLst/>
                <a:gdLst>
                  <a:gd name="T0" fmla="*/ 1618 w 1618"/>
                  <a:gd name="T1" fmla="*/ 0 h 1602"/>
                  <a:gd name="T2" fmla="*/ 1618 w 1618"/>
                  <a:gd name="T3" fmla="*/ 0 h 1602"/>
                  <a:gd name="T4" fmla="*/ 1618 w 1618"/>
                  <a:gd name="T5" fmla="*/ 1349 h 1602"/>
                  <a:gd name="T6" fmla="*/ 1618 w 1618"/>
                  <a:gd name="T7" fmla="*/ 1349 h 1602"/>
                  <a:gd name="T8" fmla="*/ 1472 w 1618"/>
                  <a:gd name="T9" fmla="*/ 1355 h 1602"/>
                  <a:gd name="T10" fmla="*/ 1327 w 1618"/>
                  <a:gd name="T11" fmla="*/ 1371 h 1602"/>
                  <a:gd name="T12" fmla="*/ 1187 w 1618"/>
                  <a:gd name="T13" fmla="*/ 1399 h 1602"/>
                  <a:gd name="T14" fmla="*/ 1050 w 1618"/>
                  <a:gd name="T15" fmla="*/ 1436 h 1602"/>
                  <a:gd name="T16" fmla="*/ 920 w 1618"/>
                  <a:gd name="T17" fmla="*/ 1482 h 1602"/>
                  <a:gd name="T18" fmla="*/ 791 w 1618"/>
                  <a:gd name="T19" fmla="*/ 1537 h 1602"/>
                  <a:gd name="T20" fmla="*/ 668 w 1618"/>
                  <a:gd name="T21" fmla="*/ 1602 h 1602"/>
                  <a:gd name="T22" fmla="*/ 0 w 1618"/>
                  <a:gd name="T23" fmla="*/ 429 h 1602"/>
                  <a:gd name="T24" fmla="*/ 160 w 1618"/>
                  <a:gd name="T25" fmla="*/ 342 h 1602"/>
                  <a:gd name="T26" fmla="*/ 328 w 1618"/>
                  <a:gd name="T27" fmla="*/ 265 h 1602"/>
                  <a:gd name="T28" fmla="*/ 500 w 1618"/>
                  <a:gd name="T29" fmla="*/ 196 h 1602"/>
                  <a:gd name="T30" fmla="*/ 676 w 1618"/>
                  <a:gd name="T31" fmla="*/ 136 h 1602"/>
                  <a:gd name="T32" fmla="*/ 856 w 1618"/>
                  <a:gd name="T33" fmla="*/ 89 h 1602"/>
                  <a:gd name="T34" fmla="*/ 1042 w 1618"/>
                  <a:gd name="T35" fmla="*/ 49 h 1602"/>
                  <a:gd name="T36" fmla="*/ 1230 w 1618"/>
                  <a:gd name="T37" fmla="*/ 22 h 1602"/>
                  <a:gd name="T38" fmla="*/ 1422 w 1618"/>
                  <a:gd name="T39" fmla="*/ 4 h 1602"/>
                  <a:gd name="T40" fmla="*/ 1618 w 1618"/>
                  <a:gd name="T41" fmla="*/ 0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18" h="1602">
                    <a:moveTo>
                      <a:pt x="1618" y="0"/>
                    </a:moveTo>
                    <a:lnTo>
                      <a:pt x="1618" y="0"/>
                    </a:lnTo>
                    <a:lnTo>
                      <a:pt x="1618" y="1349"/>
                    </a:lnTo>
                    <a:lnTo>
                      <a:pt x="1618" y="1349"/>
                    </a:lnTo>
                    <a:lnTo>
                      <a:pt x="1472" y="1355"/>
                    </a:lnTo>
                    <a:lnTo>
                      <a:pt x="1327" y="1371"/>
                    </a:lnTo>
                    <a:lnTo>
                      <a:pt x="1187" y="1399"/>
                    </a:lnTo>
                    <a:lnTo>
                      <a:pt x="1050" y="1436"/>
                    </a:lnTo>
                    <a:lnTo>
                      <a:pt x="920" y="1482"/>
                    </a:lnTo>
                    <a:lnTo>
                      <a:pt x="791" y="1537"/>
                    </a:lnTo>
                    <a:lnTo>
                      <a:pt x="668" y="1602"/>
                    </a:lnTo>
                    <a:lnTo>
                      <a:pt x="0" y="429"/>
                    </a:lnTo>
                    <a:lnTo>
                      <a:pt x="160" y="342"/>
                    </a:lnTo>
                    <a:lnTo>
                      <a:pt x="328" y="265"/>
                    </a:lnTo>
                    <a:lnTo>
                      <a:pt x="500" y="196"/>
                    </a:lnTo>
                    <a:lnTo>
                      <a:pt x="676" y="136"/>
                    </a:lnTo>
                    <a:lnTo>
                      <a:pt x="856" y="89"/>
                    </a:lnTo>
                    <a:lnTo>
                      <a:pt x="1042" y="49"/>
                    </a:lnTo>
                    <a:lnTo>
                      <a:pt x="1230" y="22"/>
                    </a:lnTo>
                    <a:lnTo>
                      <a:pt x="1422" y="4"/>
                    </a:lnTo>
                    <a:lnTo>
                      <a:pt x="1618" y="0"/>
                    </a:lnTo>
                    <a:close/>
                  </a:path>
                </a:pathLst>
              </a:custGeom>
              <a:gradFill>
                <a:gsLst>
                  <a:gs pos="86000">
                    <a:schemeClr val="bg1">
                      <a:lumMod val="85000"/>
                    </a:schemeClr>
                  </a:gs>
                  <a:gs pos="17000">
                    <a:schemeClr val="bg1">
                      <a:lumMod val="95000"/>
                    </a:schemeClr>
                  </a:gs>
                </a:gsLst>
                <a:lin ang="108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11" name="Freeform 69">
                <a:extLst>
                  <a:ext uri="{FF2B5EF4-FFF2-40B4-BE49-F238E27FC236}">
                    <a16:creationId xmlns:a16="http://schemas.microsoft.com/office/drawing/2014/main" id="{B7A9DBDE-F213-B5D7-498E-6116712C490E}"/>
                  </a:ext>
                </a:extLst>
              </p:cNvPr>
              <p:cNvSpPr>
                <a:spLocks/>
              </p:cNvSpPr>
              <p:nvPr/>
            </p:nvSpPr>
            <p:spPr bwMode="auto">
              <a:xfrm>
                <a:off x="6965949" y="2588872"/>
                <a:ext cx="835419" cy="839606"/>
              </a:xfrm>
              <a:custGeom>
                <a:avLst/>
                <a:gdLst>
                  <a:gd name="T0" fmla="*/ 1175 w 1596"/>
                  <a:gd name="T1" fmla="*/ 0 h 1604"/>
                  <a:gd name="T2" fmla="*/ 1260 w 1596"/>
                  <a:gd name="T3" fmla="*/ 160 h 1604"/>
                  <a:gd name="T4" fmla="*/ 1337 w 1596"/>
                  <a:gd name="T5" fmla="*/ 326 h 1604"/>
                  <a:gd name="T6" fmla="*/ 1404 w 1596"/>
                  <a:gd name="T7" fmla="*/ 496 h 1604"/>
                  <a:gd name="T8" fmla="*/ 1462 w 1596"/>
                  <a:gd name="T9" fmla="*/ 672 h 1604"/>
                  <a:gd name="T10" fmla="*/ 1509 w 1596"/>
                  <a:gd name="T11" fmla="*/ 850 h 1604"/>
                  <a:gd name="T12" fmla="*/ 1547 w 1596"/>
                  <a:gd name="T13" fmla="*/ 1034 h 1604"/>
                  <a:gd name="T14" fmla="*/ 1574 w 1596"/>
                  <a:gd name="T15" fmla="*/ 1222 h 1604"/>
                  <a:gd name="T16" fmla="*/ 1592 w 1596"/>
                  <a:gd name="T17" fmla="*/ 1412 h 1604"/>
                  <a:gd name="T18" fmla="*/ 1596 w 1596"/>
                  <a:gd name="T19" fmla="*/ 1604 h 1604"/>
                  <a:gd name="T20" fmla="*/ 247 w 1596"/>
                  <a:gd name="T21" fmla="*/ 1604 h 1604"/>
                  <a:gd name="T22" fmla="*/ 241 w 1596"/>
                  <a:gd name="T23" fmla="*/ 1460 h 1604"/>
                  <a:gd name="T24" fmla="*/ 225 w 1596"/>
                  <a:gd name="T25" fmla="*/ 1317 h 1604"/>
                  <a:gd name="T26" fmla="*/ 199 w 1596"/>
                  <a:gd name="T27" fmla="*/ 1179 h 1604"/>
                  <a:gd name="T28" fmla="*/ 162 w 1596"/>
                  <a:gd name="T29" fmla="*/ 1044 h 1604"/>
                  <a:gd name="T30" fmla="*/ 116 w 1596"/>
                  <a:gd name="T31" fmla="*/ 912 h 1604"/>
                  <a:gd name="T32" fmla="*/ 63 w 1596"/>
                  <a:gd name="T33" fmla="*/ 785 h 1604"/>
                  <a:gd name="T34" fmla="*/ 0 w 1596"/>
                  <a:gd name="T35" fmla="*/ 664 h 1604"/>
                  <a:gd name="T36" fmla="*/ 1175 w 1596"/>
                  <a:gd name="T37" fmla="*/ 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6" h="1604">
                    <a:moveTo>
                      <a:pt x="1175" y="0"/>
                    </a:moveTo>
                    <a:lnTo>
                      <a:pt x="1260" y="160"/>
                    </a:lnTo>
                    <a:lnTo>
                      <a:pt x="1337" y="326"/>
                    </a:lnTo>
                    <a:lnTo>
                      <a:pt x="1404" y="496"/>
                    </a:lnTo>
                    <a:lnTo>
                      <a:pt x="1462" y="672"/>
                    </a:lnTo>
                    <a:lnTo>
                      <a:pt x="1509" y="850"/>
                    </a:lnTo>
                    <a:lnTo>
                      <a:pt x="1547" y="1034"/>
                    </a:lnTo>
                    <a:lnTo>
                      <a:pt x="1574" y="1222"/>
                    </a:lnTo>
                    <a:lnTo>
                      <a:pt x="1592" y="1412"/>
                    </a:lnTo>
                    <a:lnTo>
                      <a:pt x="1596" y="1604"/>
                    </a:lnTo>
                    <a:lnTo>
                      <a:pt x="247" y="1604"/>
                    </a:lnTo>
                    <a:lnTo>
                      <a:pt x="241" y="1460"/>
                    </a:lnTo>
                    <a:lnTo>
                      <a:pt x="225" y="1317"/>
                    </a:lnTo>
                    <a:lnTo>
                      <a:pt x="199" y="1179"/>
                    </a:lnTo>
                    <a:lnTo>
                      <a:pt x="162" y="1044"/>
                    </a:lnTo>
                    <a:lnTo>
                      <a:pt x="116" y="912"/>
                    </a:lnTo>
                    <a:lnTo>
                      <a:pt x="63" y="785"/>
                    </a:lnTo>
                    <a:lnTo>
                      <a:pt x="0" y="664"/>
                    </a:lnTo>
                    <a:lnTo>
                      <a:pt x="1175" y="0"/>
                    </a:lnTo>
                    <a:close/>
                  </a:path>
                </a:pathLst>
              </a:custGeom>
              <a:gradFill>
                <a:gsLst>
                  <a:gs pos="86000">
                    <a:schemeClr val="bg1">
                      <a:lumMod val="85000"/>
                    </a:schemeClr>
                  </a:gs>
                  <a:gs pos="17000">
                    <a:schemeClr val="bg1">
                      <a:lumMod val="95000"/>
                    </a:schemeClr>
                  </a:gs>
                </a:gsLst>
                <a:lin ang="150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12" name="Freeform 70">
                <a:extLst>
                  <a:ext uri="{FF2B5EF4-FFF2-40B4-BE49-F238E27FC236}">
                    <a16:creationId xmlns:a16="http://schemas.microsoft.com/office/drawing/2014/main" id="{E121886B-6162-5CDE-516F-FB2ACF4865DC}"/>
                  </a:ext>
                </a:extLst>
              </p:cNvPr>
              <p:cNvSpPr>
                <a:spLocks/>
              </p:cNvSpPr>
              <p:nvPr/>
            </p:nvSpPr>
            <p:spPr bwMode="auto">
              <a:xfrm>
                <a:off x="6598491" y="1953409"/>
                <a:ext cx="981983" cy="983030"/>
              </a:xfrm>
              <a:custGeom>
                <a:avLst/>
                <a:gdLst>
                  <a:gd name="T0" fmla="*/ 681 w 1878"/>
                  <a:gd name="T1" fmla="*/ 0 h 1879"/>
                  <a:gd name="T2" fmla="*/ 843 w 1878"/>
                  <a:gd name="T3" fmla="*/ 103 h 1879"/>
                  <a:gd name="T4" fmla="*/ 999 w 1878"/>
                  <a:gd name="T5" fmla="*/ 214 h 1879"/>
                  <a:gd name="T6" fmla="*/ 1150 w 1878"/>
                  <a:gd name="T7" fmla="*/ 332 h 1879"/>
                  <a:gd name="T8" fmla="*/ 1292 w 1878"/>
                  <a:gd name="T9" fmla="*/ 461 h 1879"/>
                  <a:gd name="T10" fmla="*/ 1427 w 1878"/>
                  <a:gd name="T11" fmla="*/ 597 h 1879"/>
                  <a:gd name="T12" fmla="*/ 1551 w 1878"/>
                  <a:gd name="T13" fmla="*/ 742 h 1879"/>
                  <a:gd name="T14" fmla="*/ 1670 w 1878"/>
                  <a:gd name="T15" fmla="*/ 892 h 1879"/>
                  <a:gd name="T16" fmla="*/ 1779 w 1878"/>
                  <a:gd name="T17" fmla="*/ 1050 h 1879"/>
                  <a:gd name="T18" fmla="*/ 1878 w 1878"/>
                  <a:gd name="T19" fmla="*/ 1215 h 1879"/>
                  <a:gd name="T20" fmla="*/ 703 w 1878"/>
                  <a:gd name="T21" fmla="*/ 1879 h 1879"/>
                  <a:gd name="T22" fmla="*/ 626 w 1878"/>
                  <a:gd name="T23" fmla="*/ 1757 h 1879"/>
                  <a:gd name="T24" fmla="*/ 540 w 1878"/>
                  <a:gd name="T25" fmla="*/ 1640 h 1879"/>
                  <a:gd name="T26" fmla="*/ 447 w 1878"/>
                  <a:gd name="T27" fmla="*/ 1529 h 1879"/>
                  <a:gd name="T28" fmla="*/ 347 w 1878"/>
                  <a:gd name="T29" fmla="*/ 1426 h 1879"/>
                  <a:gd name="T30" fmla="*/ 238 w 1878"/>
                  <a:gd name="T31" fmla="*/ 1333 h 1879"/>
                  <a:gd name="T32" fmla="*/ 123 w 1878"/>
                  <a:gd name="T33" fmla="*/ 1246 h 1879"/>
                  <a:gd name="T34" fmla="*/ 0 w 1878"/>
                  <a:gd name="T35" fmla="*/ 1169 h 1879"/>
                  <a:gd name="T36" fmla="*/ 681 w 1878"/>
                  <a:gd name="T37" fmla="*/ 0 h 1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8" h="1879">
                    <a:moveTo>
                      <a:pt x="681" y="0"/>
                    </a:moveTo>
                    <a:lnTo>
                      <a:pt x="843" y="103"/>
                    </a:lnTo>
                    <a:lnTo>
                      <a:pt x="999" y="214"/>
                    </a:lnTo>
                    <a:lnTo>
                      <a:pt x="1150" y="332"/>
                    </a:lnTo>
                    <a:lnTo>
                      <a:pt x="1292" y="461"/>
                    </a:lnTo>
                    <a:lnTo>
                      <a:pt x="1427" y="597"/>
                    </a:lnTo>
                    <a:lnTo>
                      <a:pt x="1551" y="742"/>
                    </a:lnTo>
                    <a:lnTo>
                      <a:pt x="1670" y="892"/>
                    </a:lnTo>
                    <a:lnTo>
                      <a:pt x="1779" y="1050"/>
                    </a:lnTo>
                    <a:lnTo>
                      <a:pt x="1878" y="1215"/>
                    </a:lnTo>
                    <a:lnTo>
                      <a:pt x="703" y="1879"/>
                    </a:lnTo>
                    <a:lnTo>
                      <a:pt x="626" y="1757"/>
                    </a:lnTo>
                    <a:lnTo>
                      <a:pt x="540" y="1640"/>
                    </a:lnTo>
                    <a:lnTo>
                      <a:pt x="447" y="1529"/>
                    </a:lnTo>
                    <a:lnTo>
                      <a:pt x="347" y="1426"/>
                    </a:lnTo>
                    <a:lnTo>
                      <a:pt x="238" y="1333"/>
                    </a:lnTo>
                    <a:lnTo>
                      <a:pt x="123" y="1246"/>
                    </a:lnTo>
                    <a:lnTo>
                      <a:pt x="0" y="1169"/>
                    </a:lnTo>
                    <a:lnTo>
                      <a:pt x="681" y="0"/>
                    </a:lnTo>
                    <a:close/>
                  </a:path>
                </a:pathLst>
              </a:custGeom>
              <a:gradFill>
                <a:gsLst>
                  <a:gs pos="86000">
                    <a:schemeClr val="bg1">
                      <a:lumMod val="85000"/>
                    </a:schemeClr>
                  </a:gs>
                  <a:gs pos="17000">
                    <a:schemeClr val="bg1">
                      <a:lumMod val="95000"/>
                    </a:schemeClr>
                  </a:gs>
                </a:gsLst>
                <a:lin ang="150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13" name="Freeform 71">
                <a:extLst>
                  <a:ext uri="{FF2B5EF4-FFF2-40B4-BE49-F238E27FC236}">
                    <a16:creationId xmlns:a16="http://schemas.microsoft.com/office/drawing/2014/main" id="{C9A6AE2A-CA8A-188D-DD4E-30120C96769C}"/>
                  </a:ext>
                </a:extLst>
              </p:cNvPr>
              <p:cNvSpPr>
                <a:spLocks/>
              </p:cNvSpPr>
              <p:nvPr/>
            </p:nvSpPr>
            <p:spPr bwMode="auto">
              <a:xfrm>
                <a:off x="4608352" y="3920516"/>
                <a:ext cx="983030" cy="983030"/>
              </a:xfrm>
              <a:custGeom>
                <a:avLst/>
                <a:gdLst>
                  <a:gd name="T0" fmla="*/ 1177 w 1880"/>
                  <a:gd name="T1" fmla="*/ 0 h 1879"/>
                  <a:gd name="T2" fmla="*/ 1253 w 1880"/>
                  <a:gd name="T3" fmla="*/ 124 h 1879"/>
                  <a:gd name="T4" fmla="*/ 1338 w 1880"/>
                  <a:gd name="T5" fmla="*/ 241 h 1879"/>
                  <a:gd name="T6" fmla="*/ 1431 w 1880"/>
                  <a:gd name="T7" fmla="*/ 350 h 1879"/>
                  <a:gd name="T8" fmla="*/ 1531 w 1880"/>
                  <a:gd name="T9" fmla="*/ 453 h 1879"/>
                  <a:gd name="T10" fmla="*/ 1640 w 1880"/>
                  <a:gd name="T11" fmla="*/ 548 h 1879"/>
                  <a:gd name="T12" fmla="*/ 1757 w 1880"/>
                  <a:gd name="T13" fmla="*/ 635 h 1879"/>
                  <a:gd name="T14" fmla="*/ 1880 w 1880"/>
                  <a:gd name="T15" fmla="*/ 712 h 1879"/>
                  <a:gd name="T16" fmla="*/ 1199 w 1880"/>
                  <a:gd name="T17" fmla="*/ 1879 h 1879"/>
                  <a:gd name="T18" fmla="*/ 1035 w 1880"/>
                  <a:gd name="T19" fmla="*/ 1778 h 1879"/>
                  <a:gd name="T20" fmla="*/ 879 w 1880"/>
                  <a:gd name="T21" fmla="*/ 1667 h 1879"/>
                  <a:gd name="T22" fmla="*/ 730 w 1880"/>
                  <a:gd name="T23" fmla="*/ 1547 h 1879"/>
                  <a:gd name="T24" fmla="*/ 588 w 1880"/>
                  <a:gd name="T25" fmla="*/ 1418 h 1879"/>
                  <a:gd name="T26" fmla="*/ 453 w 1880"/>
                  <a:gd name="T27" fmla="*/ 1283 h 1879"/>
                  <a:gd name="T28" fmla="*/ 327 w 1880"/>
                  <a:gd name="T29" fmla="*/ 1139 h 1879"/>
                  <a:gd name="T30" fmla="*/ 210 w 1880"/>
                  <a:gd name="T31" fmla="*/ 987 h 1879"/>
                  <a:gd name="T32" fmla="*/ 101 w 1880"/>
                  <a:gd name="T33" fmla="*/ 830 h 1879"/>
                  <a:gd name="T34" fmla="*/ 0 w 1880"/>
                  <a:gd name="T35" fmla="*/ 664 h 1879"/>
                  <a:gd name="T36" fmla="*/ 1177 w 1880"/>
                  <a:gd name="T37" fmla="*/ 0 h 1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80" h="1879">
                    <a:moveTo>
                      <a:pt x="1177" y="0"/>
                    </a:moveTo>
                    <a:lnTo>
                      <a:pt x="1253" y="124"/>
                    </a:lnTo>
                    <a:lnTo>
                      <a:pt x="1338" y="241"/>
                    </a:lnTo>
                    <a:lnTo>
                      <a:pt x="1431" y="350"/>
                    </a:lnTo>
                    <a:lnTo>
                      <a:pt x="1531" y="453"/>
                    </a:lnTo>
                    <a:lnTo>
                      <a:pt x="1640" y="548"/>
                    </a:lnTo>
                    <a:lnTo>
                      <a:pt x="1757" y="635"/>
                    </a:lnTo>
                    <a:lnTo>
                      <a:pt x="1880" y="712"/>
                    </a:lnTo>
                    <a:lnTo>
                      <a:pt x="1199" y="1879"/>
                    </a:lnTo>
                    <a:lnTo>
                      <a:pt x="1035" y="1778"/>
                    </a:lnTo>
                    <a:lnTo>
                      <a:pt x="879" y="1667"/>
                    </a:lnTo>
                    <a:lnTo>
                      <a:pt x="730" y="1547"/>
                    </a:lnTo>
                    <a:lnTo>
                      <a:pt x="588" y="1418"/>
                    </a:lnTo>
                    <a:lnTo>
                      <a:pt x="453" y="1283"/>
                    </a:lnTo>
                    <a:lnTo>
                      <a:pt x="327" y="1139"/>
                    </a:lnTo>
                    <a:lnTo>
                      <a:pt x="210" y="987"/>
                    </a:lnTo>
                    <a:lnTo>
                      <a:pt x="101" y="830"/>
                    </a:lnTo>
                    <a:lnTo>
                      <a:pt x="0" y="664"/>
                    </a:lnTo>
                    <a:lnTo>
                      <a:pt x="1177" y="0"/>
                    </a:lnTo>
                    <a:close/>
                  </a:path>
                </a:pathLst>
              </a:custGeom>
              <a:gradFill>
                <a:gsLst>
                  <a:gs pos="69000">
                    <a:schemeClr val="bg1">
                      <a:lumMod val="85000"/>
                    </a:schemeClr>
                  </a:gs>
                  <a:gs pos="48000">
                    <a:schemeClr val="bg1">
                      <a:lumMod val="95000"/>
                    </a:schemeClr>
                  </a:gs>
                </a:gsLst>
                <a:lin ang="30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14" name="Freeform 72">
                <a:extLst>
                  <a:ext uri="{FF2B5EF4-FFF2-40B4-BE49-F238E27FC236}">
                    <a16:creationId xmlns:a16="http://schemas.microsoft.com/office/drawing/2014/main" id="{8DAD8DBD-0411-1F28-F0A2-8D8D2839D48B}"/>
                  </a:ext>
                </a:extLst>
              </p:cNvPr>
              <p:cNvSpPr>
                <a:spLocks/>
              </p:cNvSpPr>
              <p:nvPr/>
            </p:nvSpPr>
            <p:spPr bwMode="auto">
              <a:xfrm>
                <a:off x="6591163" y="3920516"/>
                <a:ext cx="990358" cy="990358"/>
              </a:xfrm>
              <a:custGeom>
                <a:avLst/>
                <a:gdLst>
                  <a:gd name="T0" fmla="*/ 716 w 1893"/>
                  <a:gd name="T1" fmla="*/ 0 h 1893"/>
                  <a:gd name="T2" fmla="*/ 1893 w 1893"/>
                  <a:gd name="T3" fmla="*/ 664 h 1893"/>
                  <a:gd name="T4" fmla="*/ 1802 w 1893"/>
                  <a:gd name="T5" fmla="*/ 815 h 1893"/>
                  <a:gd name="T6" fmla="*/ 1703 w 1893"/>
                  <a:gd name="T7" fmla="*/ 961 h 1893"/>
                  <a:gd name="T8" fmla="*/ 1596 w 1893"/>
                  <a:gd name="T9" fmla="*/ 1099 h 1893"/>
                  <a:gd name="T10" fmla="*/ 1483 w 1893"/>
                  <a:gd name="T11" fmla="*/ 1234 h 1893"/>
                  <a:gd name="T12" fmla="*/ 1365 w 1893"/>
                  <a:gd name="T13" fmla="*/ 1361 h 1893"/>
                  <a:gd name="T14" fmla="*/ 1238 w 1893"/>
                  <a:gd name="T15" fmla="*/ 1481 h 1893"/>
                  <a:gd name="T16" fmla="*/ 1103 w 1893"/>
                  <a:gd name="T17" fmla="*/ 1596 h 1893"/>
                  <a:gd name="T18" fmla="*/ 965 w 1893"/>
                  <a:gd name="T19" fmla="*/ 1701 h 1893"/>
                  <a:gd name="T20" fmla="*/ 821 w 1893"/>
                  <a:gd name="T21" fmla="*/ 1802 h 1893"/>
                  <a:gd name="T22" fmla="*/ 670 w 1893"/>
                  <a:gd name="T23" fmla="*/ 1893 h 1893"/>
                  <a:gd name="T24" fmla="*/ 0 w 1893"/>
                  <a:gd name="T25" fmla="*/ 720 h 1893"/>
                  <a:gd name="T26" fmla="*/ 124 w 1893"/>
                  <a:gd name="T27" fmla="*/ 641 h 1893"/>
                  <a:gd name="T28" fmla="*/ 243 w 1893"/>
                  <a:gd name="T29" fmla="*/ 554 h 1893"/>
                  <a:gd name="T30" fmla="*/ 354 w 1893"/>
                  <a:gd name="T31" fmla="*/ 459 h 1893"/>
                  <a:gd name="T32" fmla="*/ 457 w 1893"/>
                  <a:gd name="T33" fmla="*/ 356 h 1893"/>
                  <a:gd name="T34" fmla="*/ 551 w 1893"/>
                  <a:gd name="T35" fmla="*/ 243 h 1893"/>
                  <a:gd name="T36" fmla="*/ 639 w 1893"/>
                  <a:gd name="T37" fmla="*/ 124 h 1893"/>
                  <a:gd name="T38" fmla="*/ 716 w 1893"/>
                  <a:gd name="T39" fmla="*/ 0 h 1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93" h="1893">
                    <a:moveTo>
                      <a:pt x="716" y="0"/>
                    </a:moveTo>
                    <a:lnTo>
                      <a:pt x="1893" y="664"/>
                    </a:lnTo>
                    <a:lnTo>
                      <a:pt x="1802" y="815"/>
                    </a:lnTo>
                    <a:lnTo>
                      <a:pt x="1703" y="961"/>
                    </a:lnTo>
                    <a:lnTo>
                      <a:pt x="1596" y="1099"/>
                    </a:lnTo>
                    <a:lnTo>
                      <a:pt x="1483" y="1234"/>
                    </a:lnTo>
                    <a:lnTo>
                      <a:pt x="1365" y="1361"/>
                    </a:lnTo>
                    <a:lnTo>
                      <a:pt x="1238" y="1481"/>
                    </a:lnTo>
                    <a:lnTo>
                      <a:pt x="1103" y="1596"/>
                    </a:lnTo>
                    <a:lnTo>
                      <a:pt x="965" y="1701"/>
                    </a:lnTo>
                    <a:lnTo>
                      <a:pt x="821" y="1802"/>
                    </a:lnTo>
                    <a:lnTo>
                      <a:pt x="670" y="1893"/>
                    </a:lnTo>
                    <a:lnTo>
                      <a:pt x="0" y="720"/>
                    </a:lnTo>
                    <a:lnTo>
                      <a:pt x="124" y="641"/>
                    </a:lnTo>
                    <a:lnTo>
                      <a:pt x="243" y="554"/>
                    </a:lnTo>
                    <a:lnTo>
                      <a:pt x="354" y="459"/>
                    </a:lnTo>
                    <a:lnTo>
                      <a:pt x="457" y="356"/>
                    </a:lnTo>
                    <a:lnTo>
                      <a:pt x="551" y="243"/>
                    </a:lnTo>
                    <a:lnTo>
                      <a:pt x="639" y="124"/>
                    </a:lnTo>
                    <a:lnTo>
                      <a:pt x="716" y="0"/>
                    </a:lnTo>
                    <a:close/>
                  </a:path>
                </a:pathLst>
              </a:custGeom>
              <a:gradFill>
                <a:gsLst>
                  <a:gs pos="87000">
                    <a:schemeClr val="bg1">
                      <a:lumMod val="85000"/>
                    </a:schemeClr>
                  </a:gs>
                  <a:gs pos="24000">
                    <a:schemeClr val="bg1">
                      <a:lumMod val="95000"/>
                    </a:schemeClr>
                  </a:gs>
                </a:gsLst>
                <a:lin ang="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15" name="Freeform 73">
                <a:extLst>
                  <a:ext uri="{FF2B5EF4-FFF2-40B4-BE49-F238E27FC236}">
                    <a16:creationId xmlns:a16="http://schemas.microsoft.com/office/drawing/2014/main" id="{213818BF-64C0-A304-3845-A9CB90D56C48}"/>
                  </a:ext>
                </a:extLst>
              </p:cNvPr>
              <p:cNvSpPr>
                <a:spLocks/>
              </p:cNvSpPr>
              <p:nvPr/>
            </p:nvSpPr>
            <p:spPr bwMode="auto">
              <a:xfrm>
                <a:off x="6965949" y="3428477"/>
                <a:ext cx="835419" cy="839606"/>
              </a:xfrm>
              <a:custGeom>
                <a:avLst/>
                <a:gdLst>
                  <a:gd name="T0" fmla="*/ 247 w 1596"/>
                  <a:gd name="T1" fmla="*/ 0 h 1604"/>
                  <a:gd name="T2" fmla="*/ 1596 w 1596"/>
                  <a:gd name="T3" fmla="*/ 0 h 1604"/>
                  <a:gd name="T4" fmla="*/ 1592 w 1596"/>
                  <a:gd name="T5" fmla="*/ 194 h 1604"/>
                  <a:gd name="T6" fmla="*/ 1574 w 1596"/>
                  <a:gd name="T7" fmla="*/ 384 h 1604"/>
                  <a:gd name="T8" fmla="*/ 1547 w 1596"/>
                  <a:gd name="T9" fmla="*/ 570 h 1604"/>
                  <a:gd name="T10" fmla="*/ 1509 w 1596"/>
                  <a:gd name="T11" fmla="*/ 754 h 1604"/>
                  <a:gd name="T12" fmla="*/ 1462 w 1596"/>
                  <a:gd name="T13" fmla="*/ 932 h 1604"/>
                  <a:gd name="T14" fmla="*/ 1404 w 1596"/>
                  <a:gd name="T15" fmla="*/ 1108 h 1604"/>
                  <a:gd name="T16" fmla="*/ 1337 w 1596"/>
                  <a:gd name="T17" fmla="*/ 1278 h 1604"/>
                  <a:gd name="T18" fmla="*/ 1262 w 1596"/>
                  <a:gd name="T19" fmla="*/ 1444 h 1604"/>
                  <a:gd name="T20" fmla="*/ 1177 w 1596"/>
                  <a:gd name="T21" fmla="*/ 1604 h 1604"/>
                  <a:gd name="T22" fmla="*/ 0 w 1596"/>
                  <a:gd name="T23" fmla="*/ 940 h 1604"/>
                  <a:gd name="T24" fmla="*/ 63 w 1596"/>
                  <a:gd name="T25" fmla="*/ 819 h 1604"/>
                  <a:gd name="T26" fmla="*/ 116 w 1596"/>
                  <a:gd name="T27" fmla="*/ 692 h 1604"/>
                  <a:gd name="T28" fmla="*/ 162 w 1596"/>
                  <a:gd name="T29" fmla="*/ 562 h 1604"/>
                  <a:gd name="T30" fmla="*/ 199 w 1596"/>
                  <a:gd name="T31" fmla="*/ 425 h 1604"/>
                  <a:gd name="T32" fmla="*/ 225 w 1596"/>
                  <a:gd name="T33" fmla="*/ 287 h 1604"/>
                  <a:gd name="T34" fmla="*/ 241 w 1596"/>
                  <a:gd name="T35" fmla="*/ 146 h 1604"/>
                  <a:gd name="T36" fmla="*/ 247 w 1596"/>
                  <a:gd name="T37" fmla="*/ 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6" h="1604">
                    <a:moveTo>
                      <a:pt x="247" y="0"/>
                    </a:moveTo>
                    <a:lnTo>
                      <a:pt x="1596" y="0"/>
                    </a:lnTo>
                    <a:lnTo>
                      <a:pt x="1592" y="194"/>
                    </a:lnTo>
                    <a:lnTo>
                      <a:pt x="1574" y="384"/>
                    </a:lnTo>
                    <a:lnTo>
                      <a:pt x="1547" y="570"/>
                    </a:lnTo>
                    <a:lnTo>
                      <a:pt x="1509" y="754"/>
                    </a:lnTo>
                    <a:lnTo>
                      <a:pt x="1462" y="932"/>
                    </a:lnTo>
                    <a:lnTo>
                      <a:pt x="1404" y="1108"/>
                    </a:lnTo>
                    <a:lnTo>
                      <a:pt x="1337" y="1278"/>
                    </a:lnTo>
                    <a:lnTo>
                      <a:pt x="1262" y="1444"/>
                    </a:lnTo>
                    <a:lnTo>
                      <a:pt x="1177" y="1604"/>
                    </a:lnTo>
                    <a:lnTo>
                      <a:pt x="0" y="940"/>
                    </a:lnTo>
                    <a:lnTo>
                      <a:pt x="63" y="819"/>
                    </a:lnTo>
                    <a:lnTo>
                      <a:pt x="116" y="692"/>
                    </a:lnTo>
                    <a:lnTo>
                      <a:pt x="162" y="562"/>
                    </a:lnTo>
                    <a:lnTo>
                      <a:pt x="199" y="425"/>
                    </a:lnTo>
                    <a:lnTo>
                      <a:pt x="225" y="287"/>
                    </a:lnTo>
                    <a:lnTo>
                      <a:pt x="241" y="146"/>
                    </a:lnTo>
                    <a:lnTo>
                      <a:pt x="247" y="0"/>
                    </a:lnTo>
                    <a:close/>
                  </a:path>
                </a:pathLst>
              </a:custGeom>
              <a:gradFill>
                <a:gsLst>
                  <a:gs pos="86000">
                    <a:schemeClr val="bg1">
                      <a:lumMod val="85000"/>
                    </a:schemeClr>
                  </a:gs>
                  <a:gs pos="17000">
                    <a:schemeClr val="bg1">
                      <a:lumMod val="95000"/>
                    </a:schemeClr>
                  </a:gs>
                </a:gsLst>
                <a:lin ang="168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16" name="Freeform 74">
                <a:extLst>
                  <a:ext uri="{FF2B5EF4-FFF2-40B4-BE49-F238E27FC236}">
                    <a16:creationId xmlns:a16="http://schemas.microsoft.com/office/drawing/2014/main" id="{C4ACE2A8-1521-334A-20F8-C044F4324B75}"/>
                  </a:ext>
                </a:extLst>
              </p:cNvPr>
              <p:cNvSpPr>
                <a:spLocks/>
              </p:cNvSpPr>
              <p:nvPr/>
            </p:nvSpPr>
            <p:spPr bwMode="auto">
              <a:xfrm>
                <a:off x="5235439" y="4293208"/>
                <a:ext cx="859497" cy="842747"/>
              </a:xfrm>
              <a:custGeom>
                <a:avLst/>
                <a:gdLst>
                  <a:gd name="T0" fmla="*/ 681 w 1642"/>
                  <a:gd name="T1" fmla="*/ 0 h 1610"/>
                  <a:gd name="T2" fmla="*/ 803 w 1642"/>
                  <a:gd name="T3" fmla="*/ 65 h 1610"/>
                  <a:gd name="T4" fmla="*/ 932 w 1642"/>
                  <a:gd name="T5" fmla="*/ 122 h 1610"/>
                  <a:gd name="T6" fmla="*/ 1066 w 1642"/>
                  <a:gd name="T7" fmla="*/ 172 h 1610"/>
                  <a:gd name="T8" fmla="*/ 1205 w 1642"/>
                  <a:gd name="T9" fmla="*/ 209 h 1610"/>
                  <a:gd name="T10" fmla="*/ 1347 w 1642"/>
                  <a:gd name="T11" fmla="*/ 237 h 1610"/>
                  <a:gd name="T12" fmla="*/ 1492 w 1642"/>
                  <a:gd name="T13" fmla="*/ 253 h 1610"/>
                  <a:gd name="T14" fmla="*/ 1642 w 1642"/>
                  <a:gd name="T15" fmla="*/ 259 h 1610"/>
                  <a:gd name="T16" fmla="*/ 1642 w 1642"/>
                  <a:gd name="T17" fmla="*/ 259 h 1610"/>
                  <a:gd name="T18" fmla="*/ 1642 w 1642"/>
                  <a:gd name="T19" fmla="*/ 1610 h 1610"/>
                  <a:gd name="T20" fmla="*/ 1642 w 1642"/>
                  <a:gd name="T21" fmla="*/ 1610 h 1610"/>
                  <a:gd name="T22" fmla="*/ 1444 w 1642"/>
                  <a:gd name="T23" fmla="*/ 1604 h 1610"/>
                  <a:gd name="T24" fmla="*/ 1248 w 1642"/>
                  <a:gd name="T25" fmla="*/ 1586 h 1610"/>
                  <a:gd name="T26" fmla="*/ 1056 w 1642"/>
                  <a:gd name="T27" fmla="*/ 1559 h 1610"/>
                  <a:gd name="T28" fmla="*/ 869 w 1642"/>
                  <a:gd name="T29" fmla="*/ 1517 h 1610"/>
                  <a:gd name="T30" fmla="*/ 687 w 1642"/>
                  <a:gd name="T31" fmla="*/ 1468 h 1610"/>
                  <a:gd name="T32" fmla="*/ 507 w 1642"/>
                  <a:gd name="T33" fmla="*/ 1406 h 1610"/>
                  <a:gd name="T34" fmla="*/ 332 w 1642"/>
                  <a:gd name="T35" fmla="*/ 1337 h 1610"/>
                  <a:gd name="T36" fmla="*/ 162 w 1642"/>
                  <a:gd name="T37" fmla="*/ 1256 h 1610"/>
                  <a:gd name="T38" fmla="*/ 0 w 1642"/>
                  <a:gd name="T39" fmla="*/ 1167 h 1610"/>
                  <a:gd name="T40" fmla="*/ 681 w 1642"/>
                  <a:gd name="T41" fmla="*/ 0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42" h="1610">
                    <a:moveTo>
                      <a:pt x="681" y="0"/>
                    </a:moveTo>
                    <a:lnTo>
                      <a:pt x="803" y="65"/>
                    </a:lnTo>
                    <a:lnTo>
                      <a:pt x="932" y="122"/>
                    </a:lnTo>
                    <a:lnTo>
                      <a:pt x="1066" y="172"/>
                    </a:lnTo>
                    <a:lnTo>
                      <a:pt x="1205" y="209"/>
                    </a:lnTo>
                    <a:lnTo>
                      <a:pt x="1347" y="237"/>
                    </a:lnTo>
                    <a:lnTo>
                      <a:pt x="1492" y="253"/>
                    </a:lnTo>
                    <a:lnTo>
                      <a:pt x="1642" y="259"/>
                    </a:lnTo>
                    <a:lnTo>
                      <a:pt x="1642" y="259"/>
                    </a:lnTo>
                    <a:lnTo>
                      <a:pt x="1642" y="1610"/>
                    </a:lnTo>
                    <a:lnTo>
                      <a:pt x="1642" y="1610"/>
                    </a:lnTo>
                    <a:lnTo>
                      <a:pt x="1444" y="1604"/>
                    </a:lnTo>
                    <a:lnTo>
                      <a:pt x="1248" y="1586"/>
                    </a:lnTo>
                    <a:lnTo>
                      <a:pt x="1056" y="1559"/>
                    </a:lnTo>
                    <a:lnTo>
                      <a:pt x="869" y="1517"/>
                    </a:lnTo>
                    <a:lnTo>
                      <a:pt x="687" y="1468"/>
                    </a:lnTo>
                    <a:lnTo>
                      <a:pt x="507" y="1406"/>
                    </a:lnTo>
                    <a:lnTo>
                      <a:pt x="332" y="1337"/>
                    </a:lnTo>
                    <a:lnTo>
                      <a:pt x="162" y="1256"/>
                    </a:lnTo>
                    <a:lnTo>
                      <a:pt x="0" y="1167"/>
                    </a:lnTo>
                    <a:lnTo>
                      <a:pt x="681" y="0"/>
                    </a:lnTo>
                    <a:close/>
                  </a:path>
                </a:pathLst>
              </a:custGeom>
              <a:gradFill>
                <a:gsLst>
                  <a:gs pos="87000">
                    <a:schemeClr val="bg1">
                      <a:lumMod val="85000"/>
                    </a:schemeClr>
                  </a:gs>
                  <a:gs pos="24000">
                    <a:schemeClr val="bg1">
                      <a:lumMod val="95000"/>
                    </a:schemeClr>
                  </a:gs>
                </a:gsLst>
                <a:lin ang="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 name="Freeform 75">
                <a:extLst>
                  <a:ext uri="{FF2B5EF4-FFF2-40B4-BE49-F238E27FC236}">
                    <a16:creationId xmlns:a16="http://schemas.microsoft.com/office/drawing/2014/main" id="{E2FC5AAB-A4F0-5E20-5BF4-808D76758B91}"/>
                  </a:ext>
                </a:extLst>
              </p:cNvPr>
              <p:cNvSpPr>
                <a:spLocks/>
              </p:cNvSpPr>
              <p:nvPr/>
            </p:nvSpPr>
            <p:spPr bwMode="auto">
              <a:xfrm>
                <a:off x="6094937" y="4297396"/>
                <a:ext cx="846935" cy="838559"/>
              </a:xfrm>
              <a:custGeom>
                <a:avLst/>
                <a:gdLst>
                  <a:gd name="T0" fmla="*/ 948 w 1618"/>
                  <a:gd name="T1" fmla="*/ 0 h 1602"/>
                  <a:gd name="T2" fmla="*/ 1618 w 1618"/>
                  <a:gd name="T3" fmla="*/ 1173 h 1602"/>
                  <a:gd name="T4" fmla="*/ 1456 w 1618"/>
                  <a:gd name="T5" fmla="*/ 1260 h 1602"/>
                  <a:gd name="T6" fmla="*/ 1290 w 1618"/>
                  <a:gd name="T7" fmla="*/ 1337 h 1602"/>
                  <a:gd name="T8" fmla="*/ 1118 w 1618"/>
                  <a:gd name="T9" fmla="*/ 1406 h 1602"/>
                  <a:gd name="T10" fmla="*/ 942 w 1618"/>
                  <a:gd name="T11" fmla="*/ 1464 h 1602"/>
                  <a:gd name="T12" fmla="*/ 760 w 1618"/>
                  <a:gd name="T13" fmla="*/ 1513 h 1602"/>
                  <a:gd name="T14" fmla="*/ 576 w 1618"/>
                  <a:gd name="T15" fmla="*/ 1551 h 1602"/>
                  <a:gd name="T16" fmla="*/ 386 w 1618"/>
                  <a:gd name="T17" fmla="*/ 1580 h 1602"/>
                  <a:gd name="T18" fmla="*/ 194 w 1618"/>
                  <a:gd name="T19" fmla="*/ 1596 h 1602"/>
                  <a:gd name="T20" fmla="*/ 0 w 1618"/>
                  <a:gd name="T21" fmla="*/ 1602 h 1602"/>
                  <a:gd name="T22" fmla="*/ 0 w 1618"/>
                  <a:gd name="T23" fmla="*/ 251 h 1602"/>
                  <a:gd name="T24" fmla="*/ 146 w 1618"/>
                  <a:gd name="T25" fmla="*/ 245 h 1602"/>
                  <a:gd name="T26" fmla="*/ 289 w 1618"/>
                  <a:gd name="T27" fmla="*/ 229 h 1602"/>
                  <a:gd name="T28" fmla="*/ 429 w 1618"/>
                  <a:gd name="T29" fmla="*/ 203 h 1602"/>
                  <a:gd name="T30" fmla="*/ 566 w 1618"/>
                  <a:gd name="T31" fmla="*/ 166 h 1602"/>
                  <a:gd name="T32" fmla="*/ 698 w 1618"/>
                  <a:gd name="T33" fmla="*/ 120 h 1602"/>
                  <a:gd name="T34" fmla="*/ 825 w 1618"/>
                  <a:gd name="T35" fmla="*/ 63 h 1602"/>
                  <a:gd name="T36" fmla="*/ 948 w 1618"/>
                  <a:gd name="T37" fmla="*/ 0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18" h="1602">
                    <a:moveTo>
                      <a:pt x="948" y="0"/>
                    </a:moveTo>
                    <a:lnTo>
                      <a:pt x="1618" y="1173"/>
                    </a:lnTo>
                    <a:lnTo>
                      <a:pt x="1456" y="1260"/>
                    </a:lnTo>
                    <a:lnTo>
                      <a:pt x="1290" y="1337"/>
                    </a:lnTo>
                    <a:lnTo>
                      <a:pt x="1118" y="1406"/>
                    </a:lnTo>
                    <a:lnTo>
                      <a:pt x="942" y="1464"/>
                    </a:lnTo>
                    <a:lnTo>
                      <a:pt x="760" y="1513"/>
                    </a:lnTo>
                    <a:lnTo>
                      <a:pt x="576" y="1551"/>
                    </a:lnTo>
                    <a:lnTo>
                      <a:pt x="386" y="1580"/>
                    </a:lnTo>
                    <a:lnTo>
                      <a:pt x="194" y="1596"/>
                    </a:lnTo>
                    <a:lnTo>
                      <a:pt x="0" y="1602"/>
                    </a:lnTo>
                    <a:lnTo>
                      <a:pt x="0" y="251"/>
                    </a:lnTo>
                    <a:lnTo>
                      <a:pt x="146" y="245"/>
                    </a:lnTo>
                    <a:lnTo>
                      <a:pt x="289" y="229"/>
                    </a:lnTo>
                    <a:lnTo>
                      <a:pt x="429" y="203"/>
                    </a:lnTo>
                    <a:lnTo>
                      <a:pt x="566" y="166"/>
                    </a:lnTo>
                    <a:lnTo>
                      <a:pt x="698" y="120"/>
                    </a:lnTo>
                    <a:lnTo>
                      <a:pt x="825" y="63"/>
                    </a:lnTo>
                    <a:lnTo>
                      <a:pt x="948" y="0"/>
                    </a:lnTo>
                    <a:close/>
                  </a:path>
                </a:pathLst>
              </a:custGeom>
              <a:gradFill>
                <a:gsLst>
                  <a:gs pos="87000">
                    <a:schemeClr val="bg1">
                      <a:lumMod val="85000"/>
                    </a:schemeClr>
                  </a:gs>
                  <a:gs pos="24000">
                    <a:schemeClr val="bg1">
                      <a:lumMod val="95000"/>
                    </a:schemeClr>
                  </a:gs>
                </a:gsLst>
                <a:lin ang="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grpSp>
        <p:sp>
          <p:nvSpPr>
            <p:cNvPr id="5" name="Freeform 63">
              <a:extLst>
                <a:ext uri="{FF2B5EF4-FFF2-40B4-BE49-F238E27FC236}">
                  <a16:creationId xmlns:a16="http://schemas.microsoft.com/office/drawing/2014/main" id="{20F4B6A2-C29B-C181-07A6-38F9D1C3BE0B}"/>
                </a:ext>
              </a:extLst>
            </p:cNvPr>
            <p:cNvSpPr>
              <a:spLocks noEditPoints="1"/>
            </p:cNvSpPr>
            <p:nvPr/>
          </p:nvSpPr>
          <p:spPr bwMode="auto">
            <a:xfrm>
              <a:off x="4599864" y="2959952"/>
              <a:ext cx="352651" cy="280206"/>
            </a:xfrm>
            <a:custGeom>
              <a:avLst/>
              <a:gdLst>
                <a:gd name="T0" fmla="*/ 3526 w 3526"/>
                <a:gd name="T1" fmla="*/ 2803 h 2803"/>
                <a:gd name="T2" fmla="*/ 0 w 3526"/>
                <a:gd name="T3" fmla="*/ 1227 h 2803"/>
                <a:gd name="T4" fmla="*/ 69 w 3526"/>
                <a:gd name="T5" fmla="*/ 1291 h 2803"/>
                <a:gd name="T6" fmla="*/ 150 w 3526"/>
                <a:gd name="T7" fmla="*/ 1340 h 2803"/>
                <a:gd name="T8" fmla="*/ 241 w 3526"/>
                <a:gd name="T9" fmla="*/ 1372 h 2803"/>
                <a:gd name="T10" fmla="*/ 341 w 3526"/>
                <a:gd name="T11" fmla="*/ 1382 h 2803"/>
                <a:gd name="T12" fmla="*/ 513 w 3526"/>
                <a:gd name="T13" fmla="*/ 1663 h 2803"/>
                <a:gd name="T14" fmla="*/ 921 w 3526"/>
                <a:gd name="T15" fmla="*/ 1382 h 2803"/>
                <a:gd name="T16" fmla="*/ 2494 w 3526"/>
                <a:gd name="T17" fmla="*/ 1663 h 2803"/>
                <a:gd name="T18" fmla="*/ 2900 w 3526"/>
                <a:gd name="T19" fmla="*/ 1382 h 2803"/>
                <a:gd name="T20" fmla="*/ 3223 w 3526"/>
                <a:gd name="T21" fmla="*/ 1379 h 2803"/>
                <a:gd name="T22" fmla="*/ 3323 w 3526"/>
                <a:gd name="T23" fmla="*/ 1355 h 2803"/>
                <a:gd name="T24" fmla="*/ 3414 w 3526"/>
                <a:gd name="T25" fmla="*/ 1309 h 2803"/>
                <a:gd name="T26" fmla="*/ 3492 w 3526"/>
                <a:gd name="T27" fmla="*/ 1245 h 2803"/>
                <a:gd name="T28" fmla="*/ 1317 w 3526"/>
                <a:gd name="T29" fmla="*/ 133 h 2803"/>
                <a:gd name="T30" fmla="*/ 2217 w 3526"/>
                <a:gd name="T31" fmla="*/ 350 h 2803"/>
                <a:gd name="T32" fmla="*/ 1317 w 3526"/>
                <a:gd name="T33" fmla="*/ 133 h 2803"/>
                <a:gd name="T34" fmla="*/ 2284 w 3526"/>
                <a:gd name="T35" fmla="*/ 0 h 2803"/>
                <a:gd name="T36" fmla="*/ 2317 w 3526"/>
                <a:gd name="T37" fmla="*/ 9 h 2803"/>
                <a:gd name="T38" fmla="*/ 2341 w 3526"/>
                <a:gd name="T39" fmla="*/ 32 h 2803"/>
                <a:gd name="T40" fmla="*/ 2350 w 3526"/>
                <a:gd name="T41" fmla="*/ 67 h 2803"/>
                <a:gd name="T42" fmla="*/ 3526 w 3526"/>
                <a:gd name="T43" fmla="*/ 350 h 2803"/>
                <a:gd name="T44" fmla="*/ 3514 w 3526"/>
                <a:gd name="T45" fmla="*/ 1041 h 2803"/>
                <a:gd name="T46" fmla="*/ 3476 w 3526"/>
                <a:gd name="T47" fmla="*/ 1123 h 2803"/>
                <a:gd name="T48" fmla="*/ 3420 w 3526"/>
                <a:gd name="T49" fmla="*/ 1193 h 2803"/>
                <a:gd name="T50" fmla="*/ 3347 w 3526"/>
                <a:gd name="T51" fmla="*/ 1246 h 2803"/>
                <a:gd name="T52" fmla="*/ 3263 w 3526"/>
                <a:gd name="T53" fmla="*/ 1281 h 2803"/>
                <a:gd name="T54" fmla="*/ 3169 w 3526"/>
                <a:gd name="T55" fmla="*/ 1293 h 2803"/>
                <a:gd name="T56" fmla="*/ 2900 w 3526"/>
                <a:gd name="T57" fmla="*/ 1184 h 2803"/>
                <a:gd name="T58" fmla="*/ 2494 w 3526"/>
                <a:gd name="T59" fmla="*/ 1293 h 2803"/>
                <a:gd name="T60" fmla="*/ 921 w 3526"/>
                <a:gd name="T61" fmla="*/ 1184 h 2803"/>
                <a:gd name="T62" fmla="*/ 513 w 3526"/>
                <a:gd name="T63" fmla="*/ 1293 h 2803"/>
                <a:gd name="T64" fmla="*/ 294 w 3526"/>
                <a:gd name="T65" fmla="*/ 1291 h 2803"/>
                <a:gd name="T66" fmla="*/ 208 w 3526"/>
                <a:gd name="T67" fmla="*/ 1268 h 2803"/>
                <a:gd name="T68" fmla="*/ 131 w 3526"/>
                <a:gd name="T69" fmla="*/ 1226 h 2803"/>
                <a:gd name="T70" fmla="*/ 66 w 3526"/>
                <a:gd name="T71" fmla="*/ 1167 h 2803"/>
                <a:gd name="T72" fmla="*/ 17 w 3526"/>
                <a:gd name="T73" fmla="*/ 1094 h 2803"/>
                <a:gd name="T74" fmla="*/ 0 w 3526"/>
                <a:gd name="T75" fmla="*/ 350 h 2803"/>
                <a:gd name="T76" fmla="*/ 1182 w 3526"/>
                <a:gd name="T77" fmla="*/ 67 h 2803"/>
                <a:gd name="T78" fmla="*/ 1192 w 3526"/>
                <a:gd name="T79" fmla="*/ 32 h 2803"/>
                <a:gd name="T80" fmla="*/ 1216 w 3526"/>
                <a:gd name="T81" fmla="*/ 9 h 2803"/>
                <a:gd name="T82" fmla="*/ 1250 w 3526"/>
                <a:gd name="T83" fmla="*/ 0 h 2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526" h="2803">
                  <a:moveTo>
                    <a:pt x="3526" y="1207"/>
                  </a:moveTo>
                  <a:lnTo>
                    <a:pt x="3526" y="2803"/>
                  </a:lnTo>
                  <a:lnTo>
                    <a:pt x="0" y="2803"/>
                  </a:lnTo>
                  <a:lnTo>
                    <a:pt x="0" y="1227"/>
                  </a:lnTo>
                  <a:lnTo>
                    <a:pt x="32" y="1260"/>
                  </a:lnTo>
                  <a:lnTo>
                    <a:pt x="69" y="1291"/>
                  </a:lnTo>
                  <a:lnTo>
                    <a:pt x="108" y="1318"/>
                  </a:lnTo>
                  <a:lnTo>
                    <a:pt x="150" y="1340"/>
                  </a:lnTo>
                  <a:lnTo>
                    <a:pt x="195" y="1359"/>
                  </a:lnTo>
                  <a:lnTo>
                    <a:pt x="241" y="1372"/>
                  </a:lnTo>
                  <a:lnTo>
                    <a:pt x="290" y="1379"/>
                  </a:lnTo>
                  <a:lnTo>
                    <a:pt x="341" y="1382"/>
                  </a:lnTo>
                  <a:lnTo>
                    <a:pt x="513" y="1382"/>
                  </a:lnTo>
                  <a:lnTo>
                    <a:pt x="513" y="1663"/>
                  </a:lnTo>
                  <a:lnTo>
                    <a:pt x="921" y="1663"/>
                  </a:lnTo>
                  <a:lnTo>
                    <a:pt x="921" y="1382"/>
                  </a:lnTo>
                  <a:lnTo>
                    <a:pt x="2494" y="1382"/>
                  </a:lnTo>
                  <a:lnTo>
                    <a:pt x="2494" y="1663"/>
                  </a:lnTo>
                  <a:lnTo>
                    <a:pt x="2900" y="1663"/>
                  </a:lnTo>
                  <a:lnTo>
                    <a:pt x="2900" y="1382"/>
                  </a:lnTo>
                  <a:lnTo>
                    <a:pt x="3169" y="1382"/>
                  </a:lnTo>
                  <a:lnTo>
                    <a:pt x="3223" y="1379"/>
                  </a:lnTo>
                  <a:lnTo>
                    <a:pt x="3275" y="1371"/>
                  </a:lnTo>
                  <a:lnTo>
                    <a:pt x="3323" y="1355"/>
                  </a:lnTo>
                  <a:lnTo>
                    <a:pt x="3371" y="1335"/>
                  </a:lnTo>
                  <a:lnTo>
                    <a:pt x="3414" y="1309"/>
                  </a:lnTo>
                  <a:lnTo>
                    <a:pt x="3455" y="1280"/>
                  </a:lnTo>
                  <a:lnTo>
                    <a:pt x="3492" y="1245"/>
                  </a:lnTo>
                  <a:lnTo>
                    <a:pt x="3526" y="1207"/>
                  </a:lnTo>
                  <a:close/>
                  <a:moveTo>
                    <a:pt x="1317" y="133"/>
                  </a:moveTo>
                  <a:lnTo>
                    <a:pt x="1317" y="350"/>
                  </a:lnTo>
                  <a:lnTo>
                    <a:pt x="2217" y="350"/>
                  </a:lnTo>
                  <a:lnTo>
                    <a:pt x="2217" y="133"/>
                  </a:lnTo>
                  <a:lnTo>
                    <a:pt x="1317" y="133"/>
                  </a:lnTo>
                  <a:close/>
                  <a:moveTo>
                    <a:pt x="1250" y="0"/>
                  </a:moveTo>
                  <a:lnTo>
                    <a:pt x="2284" y="0"/>
                  </a:lnTo>
                  <a:lnTo>
                    <a:pt x="2301" y="2"/>
                  </a:lnTo>
                  <a:lnTo>
                    <a:pt x="2317" y="9"/>
                  </a:lnTo>
                  <a:lnTo>
                    <a:pt x="2330" y="19"/>
                  </a:lnTo>
                  <a:lnTo>
                    <a:pt x="2341" y="32"/>
                  </a:lnTo>
                  <a:lnTo>
                    <a:pt x="2348" y="49"/>
                  </a:lnTo>
                  <a:lnTo>
                    <a:pt x="2350" y="67"/>
                  </a:lnTo>
                  <a:lnTo>
                    <a:pt x="2350" y="350"/>
                  </a:lnTo>
                  <a:lnTo>
                    <a:pt x="3526" y="350"/>
                  </a:lnTo>
                  <a:lnTo>
                    <a:pt x="3526" y="995"/>
                  </a:lnTo>
                  <a:lnTo>
                    <a:pt x="3514" y="1041"/>
                  </a:lnTo>
                  <a:lnTo>
                    <a:pt x="3498" y="1083"/>
                  </a:lnTo>
                  <a:lnTo>
                    <a:pt x="3476" y="1123"/>
                  </a:lnTo>
                  <a:lnTo>
                    <a:pt x="3450" y="1160"/>
                  </a:lnTo>
                  <a:lnTo>
                    <a:pt x="3420" y="1193"/>
                  </a:lnTo>
                  <a:lnTo>
                    <a:pt x="3385" y="1221"/>
                  </a:lnTo>
                  <a:lnTo>
                    <a:pt x="3347" y="1246"/>
                  </a:lnTo>
                  <a:lnTo>
                    <a:pt x="3306" y="1267"/>
                  </a:lnTo>
                  <a:lnTo>
                    <a:pt x="3263" y="1281"/>
                  </a:lnTo>
                  <a:lnTo>
                    <a:pt x="3216" y="1291"/>
                  </a:lnTo>
                  <a:lnTo>
                    <a:pt x="3169" y="1293"/>
                  </a:lnTo>
                  <a:lnTo>
                    <a:pt x="2900" y="1293"/>
                  </a:lnTo>
                  <a:lnTo>
                    <a:pt x="2900" y="1184"/>
                  </a:lnTo>
                  <a:lnTo>
                    <a:pt x="2494" y="1184"/>
                  </a:lnTo>
                  <a:lnTo>
                    <a:pt x="2494" y="1293"/>
                  </a:lnTo>
                  <a:lnTo>
                    <a:pt x="921" y="1293"/>
                  </a:lnTo>
                  <a:lnTo>
                    <a:pt x="921" y="1184"/>
                  </a:lnTo>
                  <a:lnTo>
                    <a:pt x="513" y="1184"/>
                  </a:lnTo>
                  <a:lnTo>
                    <a:pt x="513" y="1293"/>
                  </a:lnTo>
                  <a:lnTo>
                    <a:pt x="341" y="1293"/>
                  </a:lnTo>
                  <a:lnTo>
                    <a:pt x="294" y="1291"/>
                  </a:lnTo>
                  <a:lnTo>
                    <a:pt x="250" y="1282"/>
                  </a:lnTo>
                  <a:lnTo>
                    <a:pt x="208" y="1268"/>
                  </a:lnTo>
                  <a:lnTo>
                    <a:pt x="168" y="1249"/>
                  </a:lnTo>
                  <a:lnTo>
                    <a:pt x="131" y="1226"/>
                  </a:lnTo>
                  <a:lnTo>
                    <a:pt x="96" y="1198"/>
                  </a:lnTo>
                  <a:lnTo>
                    <a:pt x="66" y="1167"/>
                  </a:lnTo>
                  <a:lnTo>
                    <a:pt x="40" y="1132"/>
                  </a:lnTo>
                  <a:lnTo>
                    <a:pt x="17" y="1094"/>
                  </a:lnTo>
                  <a:lnTo>
                    <a:pt x="0" y="1054"/>
                  </a:lnTo>
                  <a:lnTo>
                    <a:pt x="0" y="350"/>
                  </a:lnTo>
                  <a:lnTo>
                    <a:pt x="1182" y="350"/>
                  </a:lnTo>
                  <a:lnTo>
                    <a:pt x="1182" y="67"/>
                  </a:lnTo>
                  <a:lnTo>
                    <a:pt x="1185" y="49"/>
                  </a:lnTo>
                  <a:lnTo>
                    <a:pt x="1192" y="32"/>
                  </a:lnTo>
                  <a:lnTo>
                    <a:pt x="1202" y="19"/>
                  </a:lnTo>
                  <a:lnTo>
                    <a:pt x="1216" y="9"/>
                  </a:lnTo>
                  <a:lnTo>
                    <a:pt x="1232" y="2"/>
                  </a:lnTo>
                  <a:lnTo>
                    <a:pt x="12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sp>
        <p:nvSpPr>
          <p:cNvPr id="418" name="Rectangle 417">
            <a:extLst>
              <a:ext uri="{FF2B5EF4-FFF2-40B4-BE49-F238E27FC236}">
                <a16:creationId xmlns:a16="http://schemas.microsoft.com/office/drawing/2014/main" id="{A9C3EA63-FD45-9C6C-A89E-49663F55B7E5}"/>
              </a:ext>
            </a:extLst>
          </p:cNvPr>
          <p:cNvSpPr/>
          <p:nvPr/>
        </p:nvSpPr>
        <p:spPr>
          <a:xfrm>
            <a:off x="412827" y="2661643"/>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Agreements</a:t>
            </a:r>
          </a:p>
        </p:txBody>
      </p:sp>
      <p:sp>
        <p:nvSpPr>
          <p:cNvPr id="211" name="Rectangle 210">
            <a:extLst>
              <a:ext uri="{FF2B5EF4-FFF2-40B4-BE49-F238E27FC236}">
                <a16:creationId xmlns:a16="http://schemas.microsoft.com/office/drawing/2014/main" id="{D1FCFD73-4499-031D-96F6-D44B462F02A5}"/>
              </a:ext>
            </a:extLst>
          </p:cNvPr>
          <p:cNvSpPr/>
          <p:nvPr/>
        </p:nvSpPr>
        <p:spPr>
          <a:xfrm>
            <a:off x="407667" y="2354278"/>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Analytical Tools</a:t>
            </a:r>
          </a:p>
        </p:txBody>
      </p:sp>
      <p:sp>
        <p:nvSpPr>
          <p:cNvPr id="212" name="Rectangle 211">
            <a:extLst>
              <a:ext uri="{FF2B5EF4-FFF2-40B4-BE49-F238E27FC236}">
                <a16:creationId xmlns:a16="http://schemas.microsoft.com/office/drawing/2014/main" id="{1DE05764-C23E-4283-A780-678B3EFEC61F}"/>
              </a:ext>
            </a:extLst>
          </p:cNvPr>
          <p:cNvSpPr/>
          <p:nvPr/>
        </p:nvSpPr>
        <p:spPr>
          <a:xfrm>
            <a:off x="386100" y="5120563"/>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Strategic Tools</a:t>
            </a:r>
          </a:p>
        </p:txBody>
      </p:sp>
      <p:sp>
        <p:nvSpPr>
          <p:cNvPr id="213" name="Rectangle 212">
            <a:extLst>
              <a:ext uri="{FF2B5EF4-FFF2-40B4-BE49-F238E27FC236}">
                <a16:creationId xmlns:a16="http://schemas.microsoft.com/office/drawing/2014/main" id="{77D4FEBB-5888-9C02-D2A4-0B6800B2E8BB}"/>
              </a:ext>
            </a:extLst>
          </p:cNvPr>
          <p:cNvSpPr/>
          <p:nvPr/>
        </p:nvSpPr>
        <p:spPr>
          <a:xfrm>
            <a:off x="421421" y="3276373"/>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Content Modules</a:t>
            </a:r>
          </a:p>
        </p:txBody>
      </p:sp>
      <p:sp>
        <p:nvSpPr>
          <p:cNvPr id="214" name="Rectangle 213">
            <a:extLst>
              <a:ext uri="{FF2B5EF4-FFF2-40B4-BE49-F238E27FC236}">
                <a16:creationId xmlns:a16="http://schemas.microsoft.com/office/drawing/2014/main" id="{EABC3759-A001-D301-7AAD-9EDC23F906B8}"/>
              </a:ext>
            </a:extLst>
          </p:cNvPr>
          <p:cNvSpPr/>
          <p:nvPr/>
        </p:nvSpPr>
        <p:spPr>
          <a:xfrm>
            <a:off x="379086" y="5735298"/>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Templates</a:t>
            </a:r>
          </a:p>
        </p:txBody>
      </p:sp>
      <p:sp>
        <p:nvSpPr>
          <p:cNvPr id="215" name="Rectangle 214">
            <a:extLst>
              <a:ext uri="{FF2B5EF4-FFF2-40B4-BE49-F238E27FC236}">
                <a16:creationId xmlns:a16="http://schemas.microsoft.com/office/drawing/2014/main" id="{506C45A4-93B8-FEF0-DD07-ECC9C2F6BAAF}"/>
              </a:ext>
            </a:extLst>
          </p:cNvPr>
          <p:cNvSpPr/>
          <p:nvPr/>
        </p:nvSpPr>
        <p:spPr>
          <a:xfrm>
            <a:off x="402105" y="4198468"/>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Job Descriptions </a:t>
            </a:r>
          </a:p>
        </p:txBody>
      </p:sp>
      <p:sp>
        <p:nvSpPr>
          <p:cNvPr id="216" name="Rectangle 215">
            <a:extLst>
              <a:ext uri="{FF2B5EF4-FFF2-40B4-BE49-F238E27FC236}">
                <a16:creationId xmlns:a16="http://schemas.microsoft.com/office/drawing/2014/main" id="{1524BC27-33DE-37FD-8FFB-A3D9EC72595A}"/>
              </a:ext>
            </a:extLst>
          </p:cNvPr>
          <p:cNvSpPr/>
          <p:nvPr/>
        </p:nvSpPr>
        <p:spPr>
          <a:xfrm>
            <a:off x="416258" y="3583738"/>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Checklists</a:t>
            </a:r>
          </a:p>
        </p:txBody>
      </p:sp>
      <p:sp>
        <p:nvSpPr>
          <p:cNvPr id="217" name="Rectangle 216">
            <a:extLst>
              <a:ext uri="{FF2B5EF4-FFF2-40B4-BE49-F238E27FC236}">
                <a16:creationId xmlns:a16="http://schemas.microsoft.com/office/drawing/2014/main" id="{6E55EBA7-E887-A28C-492D-C05011541FD1}"/>
              </a:ext>
            </a:extLst>
          </p:cNvPr>
          <p:cNvSpPr/>
          <p:nvPr/>
        </p:nvSpPr>
        <p:spPr>
          <a:xfrm>
            <a:off x="410046" y="3891103"/>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Calculators</a:t>
            </a:r>
          </a:p>
        </p:txBody>
      </p:sp>
      <p:sp>
        <p:nvSpPr>
          <p:cNvPr id="218" name="Rectangle 217">
            <a:extLst>
              <a:ext uri="{FF2B5EF4-FFF2-40B4-BE49-F238E27FC236}">
                <a16:creationId xmlns:a16="http://schemas.microsoft.com/office/drawing/2014/main" id="{034017E2-3A05-07FB-5E21-004CE52B58B7}"/>
              </a:ext>
            </a:extLst>
          </p:cNvPr>
          <p:cNvSpPr/>
          <p:nvPr/>
        </p:nvSpPr>
        <p:spPr>
          <a:xfrm>
            <a:off x="387027" y="4813198"/>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Research </a:t>
            </a:r>
          </a:p>
        </p:txBody>
      </p:sp>
      <p:sp>
        <p:nvSpPr>
          <p:cNvPr id="219" name="Rectangle 218">
            <a:extLst>
              <a:ext uri="{FF2B5EF4-FFF2-40B4-BE49-F238E27FC236}">
                <a16:creationId xmlns:a16="http://schemas.microsoft.com/office/drawing/2014/main" id="{686D1E88-06E9-91B5-C258-2E99452197B9}"/>
              </a:ext>
            </a:extLst>
          </p:cNvPr>
          <p:cNvSpPr/>
          <p:nvPr/>
        </p:nvSpPr>
        <p:spPr>
          <a:xfrm>
            <a:off x="375780" y="5427928"/>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Scorecards</a:t>
            </a:r>
          </a:p>
        </p:txBody>
      </p:sp>
      <p:sp>
        <p:nvSpPr>
          <p:cNvPr id="220" name="Rectangle 219">
            <a:extLst>
              <a:ext uri="{FF2B5EF4-FFF2-40B4-BE49-F238E27FC236}">
                <a16:creationId xmlns:a16="http://schemas.microsoft.com/office/drawing/2014/main" id="{1D6CC9B2-FF8C-9C3A-E0F2-F3F398331705}"/>
              </a:ext>
            </a:extLst>
          </p:cNvPr>
          <p:cNvSpPr/>
          <p:nvPr/>
        </p:nvSpPr>
        <p:spPr>
          <a:xfrm>
            <a:off x="396420" y="4505833"/>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KPI’s</a:t>
            </a:r>
          </a:p>
        </p:txBody>
      </p:sp>
      <p:sp>
        <p:nvSpPr>
          <p:cNvPr id="224" name="Rectangle 223">
            <a:extLst>
              <a:ext uri="{FF2B5EF4-FFF2-40B4-BE49-F238E27FC236}">
                <a16:creationId xmlns:a16="http://schemas.microsoft.com/office/drawing/2014/main" id="{3ECC189E-389F-6A39-01E0-14432C3376DC}"/>
              </a:ext>
            </a:extLst>
          </p:cNvPr>
          <p:cNvSpPr/>
          <p:nvPr/>
        </p:nvSpPr>
        <p:spPr>
          <a:xfrm>
            <a:off x="2566811" y="2598506"/>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endParaRPr>
          </a:p>
        </p:txBody>
      </p:sp>
      <p:sp>
        <p:nvSpPr>
          <p:cNvPr id="225" name="Rectangle 224">
            <a:extLst>
              <a:ext uri="{FF2B5EF4-FFF2-40B4-BE49-F238E27FC236}">
                <a16:creationId xmlns:a16="http://schemas.microsoft.com/office/drawing/2014/main" id="{95CF2858-1B59-7633-9E58-D99D29DF83BF}"/>
              </a:ext>
            </a:extLst>
          </p:cNvPr>
          <p:cNvSpPr/>
          <p:nvPr/>
        </p:nvSpPr>
        <p:spPr>
          <a:xfrm>
            <a:off x="2566811" y="2899988"/>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Agreements</a:t>
            </a:r>
          </a:p>
        </p:txBody>
      </p:sp>
      <p:sp>
        <p:nvSpPr>
          <p:cNvPr id="226" name="Rectangle 225">
            <a:extLst>
              <a:ext uri="{FF2B5EF4-FFF2-40B4-BE49-F238E27FC236}">
                <a16:creationId xmlns:a16="http://schemas.microsoft.com/office/drawing/2014/main" id="{04881923-66A2-DD13-411C-A3E122E48823}"/>
              </a:ext>
            </a:extLst>
          </p:cNvPr>
          <p:cNvSpPr/>
          <p:nvPr/>
        </p:nvSpPr>
        <p:spPr>
          <a:xfrm>
            <a:off x="2566811" y="320147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Analytics</a:t>
            </a:r>
          </a:p>
        </p:txBody>
      </p:sp>
      <p:sp>
        <p:nvSpPr>
          <p:cNvPr id="227" name="Rectangle 226">
            <a:extLst>
              <a:ext uri="{FF2B5EF4-FFF2-40B4-BE49-F238E27FC236}">
                <a16:creationId xmlns:a16="http://schemas.microsoft.com/office/drawing/2014/main" id="{13525AFA-3842-8C7F-7A6C-6F0FB7E44196}"/>
              </a:ext>
            </a:extLst>
          </p:cNvPr>
          <p:cNvSpPr/>
          <p:nvPr/>
        </p:nvSpPr>
        <p:spPr>
          <a:xfrm>
            <a:off x="2566811" y="3502951"/>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Barriers</a:t>
            </a:r>
          </a:p>
        </p:txBody>
      </p:sp>
      <p:sp>
        <p:nvSpPr>
          <p:cNvPr id="228" name="Rectangle 227">
            <a:extLst>
              <a:ext uri="{FF2B5EF4-FFF2-40B4-BE49-F238E27FC236}">
                <a16:creationId xmlns:a16="http://schemas.microsoft.com/office/drawing/2014/main" id="{A045CB11-A0BE-D95D-FA42-CA7000A8E443}"/>
              </a:ext>
            </a:extLst>
          </p:cNvPr>
          <p:cNvSpPr/>
          <p:nvPr/>
        </p:nvSpPr>
        <p:spPr>
          <a:xfrm>
            <a:off x="2566811" y="3804433"/>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Business Reviews</a:t>
            </a:r>
          </a:p>
        </p:txBody>
      </p:sp>
      <p:sp>
        <p:nvSpPr>
          <p:cNvPr id="229" name="Rectangle 228">
            <a:extLst>
              <a:ext uri="{FF2B5EF4-FFF2-40B4-BE49-F238E27FC236}">
                <a16:creationId xmlns:a16="http://schemas.microsoft.com/office/drawing/2014/main" id="{94C7F36E-269F-DC16-EC86-C9795735AA3E}"/>
              </a:ext>
            </a:extLst>
          </p:cNvPr>
          <p:cNvSpPr/>
          <p:nvPr/>
        </p:nvSpPr>
        <p:spPr>
          <a:xfrm>
            <a:off x="2566811" y="4105915"/>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Business Intelligence</a:t>
            </a:r>
          </a:p>
        </p:txBody>
      </p:sp>
      <p:sp>
        <p:nvSpPr>
          <p:cNvPr id="230" name="Rectangle 229">
            <a:extLst>
              <a:ext uri="{FF2B5EF4-FFF2-40B4-BE49-F238E27FC236}">
                <a16:creationId xmlns:a16="http://schemas.microsoft.com/office/drawing/2014/main" id="{ED32097C-3A33-5ED2-2C9B-2B4FE6B95F76}"/>
              </a:ext>
            </a:extLst>
          </p:cNvPr>
          <p:cNvSpPr/>
          <p:nvPr/>
        </p:nvSpPr>
        <p:spPr>
          <a:xfrm>
            <a:off x="2566811" y="4407397"/>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hannels</a:t>
            </a:r>
          </a:p>
        </p:txBody>
      </p:sp>
      <p:sp>
        <p:nvSpPr>
          <p:cNvPr id="231" name="Rectangle 230">
            <a:extLst>
              <a:ext uri="{FF2B5EF4-FFF2-40B4-BE49-F238E27FC236}">
                <a16:creationId xmlns:a16="http://schemas.microsoft.com/office/drawing/2014/main" id="{F35A815E-0064-B362-4A7D-AC7E79406F0C}"/>
              </a:ext>
            </a:extLst>
          </p:cNvPr>
          <p:cNvSpPr/>
          <p:nvPr/>
        </p:nvSpPr>
        <p:spPr>
          <a:xfrm>
            <a:off x="2566811" y="470888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ommunication</a:t>
            </a:r>
          </a:p>
        </p:txBody>
      </p:sp>
      <p:sp>
        <p:nvSpPr>
          <p:cNvPr id="232" name="Rectangle 231">
            <a:extLst>
              <a:ext uri="{FF2B5EF4-FFF2-40B4-BE49-F238E27FC236}">
                <a16:creationId xmlns:a16="http://schemas.microsoft.com/office/drawing/2014/main" id="{90155C62-D61D-CB1B-C865-A3DEB8C2CCE8}"/>
              </a:ext>
            </a:extLst>
          </p:cNvPr>
          <p:cNvSpPr/>
          <p:nvPr/>
        </p:nvSpPr>
        <p:spPr>
          <a:xfrm>
            <a:off x="2566811" y="5010362"/>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ompetitive Evaluation</a:t>
            </a:r>
          </a:p>
        </p:txBody>
      </p:sp>
      <p:sp>
        <p:nvSpPr>
          <p:cNvPr id="233" name="Rectangle 232">
            <a:extLst>
              <a:ext uri="{FF2B5EF4-FFF2-40B4-BE49-F238E27FC236}">
                <a16:creationId xmlns:a16="http://schemas.microsoft.com/office/drawing/2014/main" id="{92E4F93B-5610-0CDA-1871-9B41788A98A4}"/>
              </a:ext>
            </a:extLst>
          </p:cNvPr>
          <p:cNvSpPr/>
          <p:nvPr/>
        </p:nvSpPr>
        <p:spPr>
          <a:xfrm>
            <a:off x="2566811" y="5311844"/>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ompetitive Intelligence</a:t>
            </a:r>
          </a:p>
        </p:txBody>
      </p:sp>
      <p:sp>
        <p:nvSpPr>
          <p:cNvPr id="237" name="Rectangle 236">
            <a:extLst>
              <a:ext uri="{FF2B5EF4-FFF2-40B4-BE49-F238E27FC236}">
                <a16:creationId xmlns:a16="http://schemas.microsoft.com/office/drawing/2014/main" id="{C44533D8-6FD4-9DDC-35C7-D84BFD2C8C35}"/>
              </a:ext>
            </a:extLst>
          </p:cNvPr>
          <p:cNvSpPr/>
          <p:nvPr/>
        </p:nvSpPr>
        <p:spPr>
          <a:xfrm>
            <a:off x="3966444" y="2598506"/>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ustomer Acquisition</a:t>
            </a:r>
          </a:p>
        </p:txBody>
      </p:sp>
      <p:sp>
        <p:nvSpPr>
          <p:cNvPr id="238" name="Rectangle 237">
            <a:extLst>
              <a:ext uri="{FF2B5EF4-FFF2-40B4-BE49-F238E27FC236}">
                <a16:creationId xmlns:a16="http://schemas.microsoft.com/office/drawing/2014/main" id="{1EB0CAD8-450D-4F8C-AD6F-0074FD5DA80A}"/>
              </a:ext>
            </a:extLst>
          </p:cNvPr>
          <p:cNvSpPr/>
          <p:nvPr/>
        </p:nvSpPr>
        <p:spPr>
          <a:xfrm>
            <a:off x="3966444" y="2899988"/>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ustomer Management</a:t>
            </a:r>
          </a:p>
        </p:txBody>
      </p:sp>
      <p:sp>
        <p:nvSpPr>
          <p:cNvPr id="239" name="Rectangle 238">
            <a:extLst>
              <a:ext uri="{FF2B5EF4-FFF2-40B4-BE49-F238E27FC236}">
                <a16:creationId xmlns:a16="http://schemas.microsoft.com/office/drawing/2014/main" id="{BCB846E0-E016-897C-3DBF-71501B91AA87}"/>
              </a:ext>
            </a:extLst>
          </p:cNvPr>
          <p:cNvSpPr/>
          <p:nvPr/>
        </p:nvSpPr>
        <p:spPr>
          <a:xfrm>
            <a:off x="3966444" y="320147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Distribution </a:t>
            </a:r>
          </a:p>
        </p:txBody>
      </p:sp>
      <p:sp>
        <p:nvSpPr>
          <p:cNvPr id="240" name="Rectangle 239">
            <a:extLst>
              <a:ext uri="{FF2B5EF4-FFF2-40B4-BE49-F238E27FC236}">
                <a16:creationId xmlns:a16="http://schemas.microsoft.com/office/drawing/2014/main" id="{802B5EC1-E814-0573-93AE-C1F71645704C}"/>
              </a:ext>
            </a:extLst>
          </p:cNvPr>
          <p:cNvSpPr/>
          <p:nvPr/>
        </p:nvSpPr>
        <p:spPr>
          <a:xfrm>
            <a:off x="3966444" y="3502951"/>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Distributor Management</a:t>
            </a:r>
          </a:p>
        </p:txBody>
      </p:sp>
      <p:sp>
        <p:nvSpPr>
          <p:cNvPr id="241" name="Rectangle 240">
            <a:extLst>
              <a:ext uri="{FF2B5EF4-FFF2-40B4-BE49-F238E27FC236}">
                <a16:creationId xmlns:a16="http://schemas.microsoft.com/office/drawing/2014/main" id="{FDA5EE8F-0ADC-E39D-BA41-4D2DB19D3931}"/>
              </a:ext>
            </a:extLst>
          </p:cNvPr>
          <p:cNvSpPr/>
          <p:nvPr/>
        </p:nvSpPr>
        <p:spPr>
          <a:xfrm>
            <a:off x="3966444" y="3804433"/>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Forecasting</a:t>
            </a:r>
          </a:p>
        </p:txBody>
      </p:sp>
      <p:sp>
        <p:nvSpPr>
          <p:cNvPr id="242" name="Rectangle 241">
            <a:extLst>
              <a:ext uri="{FF2B5EF4-FFF2-40B4-BE49-F238E27FC236}">
                <a16:creationId xmlns:a16="http://schemas.microsoft.com/office/drawing/2014/main" id="{F1F73A0B-DF0A-006E-12BE-1074E5F78175}"/>
              </a:ext>
            </a:extLst>
          </p:cNvPr>
          <p:cNvSpPr/>
          <p:nvPr/>
        </p:nvSpPr>
        <p:spPr>
          <a:xfrm>
            <a:off x="3966444" y="4105915"/>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GAP Analysis</a:t>
            </a:r>
          </a:p>
        </p:txBody>
      </p:sp>
      <p:sp>
        <p:nvSpPr>
          <p:cNvPr id="243" name="Rectangle 242">
            <a:extLst>
              <a:ext uri="{FF2B5EF4-FFF2-40B4-BE49-F238E27FC236}">
                <a16:creationId xmlns:a16="http://schemas.microsoft.com/office/drawing/2014/main" id="{CF523630-A9AE-6498-F7E3-58BC0EFA6091}"/>
              </a:ext>
            </a:extLst>
          </p:cNvPr>
          <p:cNvSpPr/>
          <p:nvPr/>
        </p:nvSpPr>
        <p:spPr>
          <a:xfrm>
            <a:off x="3966444" y="4407397"/>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Go To Market</a:t>
            </a:r>
          </a:p>
        </p:txBody>
      </p:sp>
      <p:sp>
        <p:nvSpPr>
          <p:cNvPr id="244" name="Rectangle 243">
            <a:extLst>
              <a:ext uri="{FF2B5EF4-FFF2-40B4-BE49-F238E27FC236}">
                <a16:creationId xmlns:a16="http://schemas.microsoft.com/office/drawing/2014/main" id="{2D7EEEAA-5E2C-A1AC-574A-D516A01B55C6}"/>
              </a:ext>
            </a:extLst>
          </p:cNvPr>
          <p:cNvSpPr/>
          <p:nvPr/>
        </p:nvSpPr>
        <p:spPr>
          <a:xfrm>
            <a:off x="3966444" y="470888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Job Descriptions</a:t>
            </a:r>
          </a:p>
        </p:txBody>
      </p:sp>
      <p:sp>
        <p:nvSpPr>
          <p:cNvPr id="245" name="Rectangle 244">
            <a:extLst>
              <a:ext uri="{FF2B5EF4-FFF2-40B4-BE49-F238E27FC236}">
                <a16:creationId xmlns:a16="http://schemas.microsoft.com/office/drawing/2014/main" id="{B1A00D86-0753-0DDD-D11D-F63F984451E9}"/>
              </a:ext>
            </a:extLst>
          </p:cNvPr>
          <p:cNvSpPr/>
          <p:nvPr/>
        </p:nvSpPr>
        <p:spPr>
          <a:xfrm>
            <a:off x="3966444" y="5010362"/>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Key Account Plans </a:t>
            </a:r>
          </a:p>
        </p:txBody>
      </p:sp>
      <p:sp>
        <p:nvSpPr>
          <p:cNvPr id="246" name="Rectangle 245">
            <a:extLst>
              <a:ext uri="{FF2B5EF4-FFF2-40B4-BE49-F238E27FC236}">
                <a16:creationId xmlns:a16="http://schemas.microsoft.com/office/drawing/2014/main" id="{DC4DBF2D-EE28-3D7D-F823-7C9FD01A9ABF}"/>
              </a:ext>
            </a:extLst>
          </p:cNvPr>
          <p:cNvSpPr/>
          <p:nvPr/>
        </p:nvSpPr>
        <p:spPr>
          <a:xfrm>
            <a:off x="3966444" y="5311844"/>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nagement Summary</a:t>
            </a:r>
          </a:p>
        </p:txBody>
      </p:sp>
      <p:sp>
        <p:nvSpPr>
          <p:cNvPr id="250" name="Rectangle 249">
            <a:extLst>
              <a:ext uri="{FF2B5EF4-FFF2-40B4-BE49-F238E27FC236}">
                <a16:creationId xmlns:a16="http://schemas.microsoft.com/office/drawing/2014/main" id="{B45F2524-0A25-E756-72F6-7C45F809EEA5}"/>
              </a:ext>
            </a:extLst>
          </p:cNvPr>
          <p:cNvSpPr/>
          <p:nvPr/>
        </p:nvSpPr>
        <p:spPr>
          <a:xfrm>
            <a:off x="5366076" y="2598506"/>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gins</a:t>
            </a:r>
          </a:p>
        </p:txBody>
      </p:sp>
      <p:sp>
        <p:nvSpPr>
          <p:cNvPr id="251" name="Rectangle 250">
            <a:extLst>
              <a:ext uri="{FF2B5EF4-FFF2-40B4-BE49-F238E27FC236}">
                <a16:creationId xmlns:a16="http://schemas.microsoft.com/office/drawing/2014/main" id="{67A89327-2ABD-FDA3-1AD8-F544AE466AD6}"/>
              </a:ext>
            </a:extLst>
          </p:cNvPr>
          <p:cNvSpPr/>
          <p:nvPr/>
        </p:nvSpPr>
        <p:spPr>
          <a:xfrm>
            <a:off x="5366076" y="2899988"/>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ket Analysis</a:t>
            </a:r>
          </a:p>
        </p:txBody>
      </p:sp>
      <p:sp>
        <p:nvSpPr>
          <p:cNvPr id="252" name="Rectangle 251">
            <a:extLst>
              <a:ext uri="{FF2B5EF4-FFF2-40B4-BE49-F238E27FC236}">
                <a16:creationId xmlns:a16="http://schemas.microsoft.com/office/drawing/2014/main" id="{58988DED-EE57-F69F-C842-F713F60986E4}"/>
              </a:ext>
            </a:extLst>
          </p:cNvPr>
          <p:cNvSpPr/>
          <p:nvPr/>
        </p:nvSpPr>
        <p:spPr>
          <a:xfrm>
            <a:off x="5366076" y="320147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ket Development</a:t>
            </a:r>
          </a:p>
        </p:txBody>
      </p:sp>
      <p:sp>
        <p:nvSpPr>
          <p:cNvPr id="253" name="Rectangle 252">
            <a:extLst>
              <a:ext uri="{FF2B5EF4-FFF2-40B4-BE49-F238E27FC236}">
                <a16:creationId xmlns:a16="http://schemas.microsoft.com/office/drawing/2014/main" id="{BC1A4986-391B-D15B-9E40-C2E41E9CF271}"/>
              </a:ext>
            </a:extLst>
          </p:cNvPr>
          <p:cNvSpPr/>
          <p:nvPr/>
        </p:nvSpPr>
        <p:spPr>
          <a:xfrm>
            <a:off x="5366076" y="3502951"/>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ket Research </a:t>
            </a:r>
          </a:p>
        </p:txBody>
      </p:sp>
      <p:sp>
        <p:nvSpPr>
          <p:cNvPr id="254" name="Rectangle 253">
            <a:extLst>
              <a:ext uri="{FF2B5EF4-FFF2-40B4-BE49-F238E27FC236}">
                <a16:creationId xmlns:a16="http://schemas.microsoft.com/office/drawing/2014/main" id="{A5C39F91-6739-A5F1-DC84-D743ED36793D}"/>
              </a:ext>
            </a:extLst>
          </p:cNvPr>
          <p:cNvSpPr/>
          <p:nvPr/>
        </p:nvSpPr>
        <p:spPr>
          <a:xfrm>
            <a:off x="5366076" y="3804433"/>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ket Segmentation</a:t>
            </a:r>
          </a:p>
        </p:txBody>
      </p:sp>
      <p:sp>
        <p:nvSpPr>
          <p:cNvPr id="255" name="Rectangle 254">
            <a:extLst>
              <a:ext uri="{FF2B5EF4-FFF2-40B4-BE49-F238E27FC236}">
                <a16:creationId xmlns:a16="http://schemas.microsoft.com/office/drawing/2014/main" id="{340E96EF-F043-CF54-06EB-BCE31137F6D8}"/>
              </a:ext>
            </a:extLst>
          </p:cNvPr>
          <p:cNvSpPr/>
          <p:nvPr/>
        </p:nvSpPr>
        <p:spPr>
          <a:xfrm>
            <a:off x="5366076" y="4105915"/>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ket Size</a:t>
            </a:r>
          </a:p>
        </p:txBody>
      </p:sp>
      <p:sp>
        <p:nvSpPr>
          <p:cNvPr id="256" name="Rectangle 255">
            <a:extLst>
              <a:ext uri="{FF2B5EF4-FFF2-40B4-BE49-F238E27FC236}">
                <a16:creationId xmlns:a16="http://schemas.microsoft.com/office/drawing/2014/main" id="{B1C8F87D-6A0A-3E18-5842-64E0E78FA6C2}"/>
              </a:ext>
            </a:extLst>
          </p:cNvPr>
          <p:cNvSpPr/>
          <p:nvPr/>
        </p:nvSpPr>
        <p:spPr>
          <a:xfrm>
            <a:off x="5366076" y="4407397"/>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keting</a:t>
            </a:r>
          </a:p>
        </p:txBody>
      </p:sp>
      <p:sp>
        <p:nvSpPr>
          <p:cNvPr id="257" name="Rectangle 256">
            <a:extLst>
              <a:ext uri="{FF2B5EF4-FFF2-40B4-BE49-F238E27FC236}">
                <a16:creationId xmlns:a16="http://schemas.microsoft.com/office/drawing/2014/main" id="{A3A8F6BC-FCD5-E479-D970-F8DF88AF7F63}"/>
              </a:ext>
            </a:extLst>
          </p:cNvPr>
          <p:cNvSpPr/>
          <p:nvPr/>
        </p:nvSpPr>
        <p:spPr>
          <a:xfrm>
            <a:off x="5366076" y="470888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keting Comms</a:t>
            </a:r>
          </a:p>
        </p:txBody>
      </p:sp>
      <p:sp>
        <p:nvSpPr>
          <p:cNvPr id="258" name="Rectangle 257">
            <a:extLst>
              <a:ext uri="{FF2B5EF4-FFF2-40B4-BE49-F238E27FC236}">
                <a16:creationId xmlns:a16="http://schemas.microsoft.com/office/drawing/2014/main" id="{92CE92F6-8683-AD1D-89A2-B09148C431B9}"/>
              </a:ext>
            </a:extLst>
          </p:cNvPr>
          <p:cNvSpPr/>
          <p:nvPr/>
        </p:nvSpPr>
        <p:spPr>
          <a:xfrm>
            <a:off x="5366076" y="5010362"/>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erchandising</a:t>
            </a:r>
          </a:p>
        </p:txBody>
      </p:sp>
      <p:sp>
        <p:nvSpPr>
          <p:cNvPr id="259" name="Rectangle 258">
            <a:extLst>
              <a:ext uri="{FF2B5EF4-FFF2-40B4-BE49-F238E27FC236}">
                <a16:creationId xmlns:a16="http://schemas.microsoft.com/office/drawing/2014/main" id="{5AF324FD-9DBC-0AC4-47AA-E47235E6D76C}"/>
              </a:ext>
            </a:extLst>
          </p:cNvPr>
          <p:cNvSpPr/>
          <p:nvPr/>
        </p:nvSpPr>
        <p:spPr>
          <a:xfrm>
            <a:off x="5366076" y="5311844"/>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New Market Entry</a:t>
            </a:r>
          </a:p>
        </p:txBody>
      </p:sp>
      <p:sp>
        <p:nvSpPr>
          <p:cNvPr id="263" name="Rectangle 262">
            <a:extLst>
              <a:ext uri="{FF2B5EF4-FFF2-40B4-BE49-F238E27FC236}">
                <a16:creationId xmlns:a16="http://schemas.microsoft.com/office/drawing/2014/main" id="{BA0AD984-93C6-77D3-0180-A1C0157F6E53}"/>
              </a:ext>
            </a:extLst>
          </p:cNvPr>
          <p:cNvSpPr/>
          <p:nvPr/>
        </p:nvSpPr>
        <p:spPr>
          <a:xfrm>
            <a:off x="6765709" y="2598506"/>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artner Search </a:t>
            </a:r>
          </a:p>
        </p:txBody>
      </p:sp>
      <p:sp>
        <p:nvSpPr>
          <p:cNvPr id="264" name="Rectangle 263">
            <a:extLst>
              <a:ext uri="{FF2B5EF4-FFF2-40B4-BE49-F238E27FC236}">
                <a16:creationId xmlns:a16="http://schemas.microsoft.com/office/drawing/2014/main" id="{14438355-24AC-27F6-AB89-79492BF008C9}"/>
              </a:ext>
            </a:extLst>
          </p:cNvPr>
          <p:cNvSpPr/>
          <p:nvPr/>
        </p:nvSpPr>
        <p:spPr>
          <a:xfrm>
            <a:off x="6765709" y="2899988"/>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ersona Development</a:t>
            </a:r>
          </a:p>
        </p:txBody>
      </p:sp>
      <p:sp>
        <p:nvSpPr>
          <p:cNvPr id="265" name="Rectangle 264">
            <a:extLst>
              <a:ext uri="{FF2B5EF4-FFF2-40B4-BE49-F238E27FC236}">
                <a16:creationId xmlns:a16="http://schemas.microsoft.com/office/drawing/2014/main" id="{DAC53EAB-4CE9-80F8-3E79-F06D8A3180A7}"/>
              </a:ext>
            </a:extLst>
          </p:cNvPr>
          <p:cNvSpPr/>
          <p:nvPr/>
        </p:nvSpPr>
        <p:spPr>
          <a:xfrm>
            <a:off x="6765709" y="320147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lanning</a:t>
            </a:r>
          </a:p>
        </p:txBody>
      </p:sp>
      <p:sp>
        <p:nvSpPr>
          <p:cNvPr id="266" name="Rectangle 265">
            <a:extLst>
              <a:ext uri="{FF2B5EF4-FFF2-40B4-BE49-F238E27FC236}">
                <a16:creationId xmlns:a16="http://schemas.microsoft.com/office/drawing/2014/main" id="{FDC3FB86-1658-18C1-E941-508B8CA7D935}"/>
              </a:ext>
            </a:extLst>
          </p:cNvPr>
          <p:cNvSpPr/>
          <p:nvPr/>
        </p:nvSpPr>
        <p:spPr>
          <a:xfrm>
            <a:off x="6765709" y="3502951"/>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ositioning</a:t>
            </a:r>
          </a:p>
        </p:txBody>
      </p:sp>
      <p:sp>
        <p:nvSpPr>
          <p:cNvPr id="267" name="Rectangle 266">
            <a:extLst>
              <a:ext uri="{FF2B5EF4-FFF2-40B4-BE49-F238E27FC236}">
                <a16:creationId xmlns:a16="http://schemas.microsoft.com/office/drawing/2014/main" id="{8723F139-3BCB-79FF-4451-970D97DF5647}"/>
              </a:ext>
            </a:extLst>
          </p:cNvPr>
          <p:cNvSpPr/>
          <p:nvPr/>
        </p:nvSpPr>
        <p:spPr>
          <a:xfrm>
            <a:off x="6765709" y="3804433"/>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ricing</a:t>
            </a:r>
          </a:p>
        </p:txBody>
      </p:sp>
      <p:sp>
        <p:nvSpPr>
          <p:cNvPr id="268" name="Rectangle 267">
            <a:extLst>
              <a:ext uri="{FF2B5EF4-FFF2-40B4-BE49-F238E27FC236}">
                <a16:creationId xmlns:a16="http://schemas.microsoft.com/office/drawing/2014/main" id="{6B8A15B5-F01C-A28D-7096-1FD92486EBF7}"/>
              </a:ext>
            </a:extLst>
          </p:cNvPr>
          <p:cNvSpPr/>
          <p:nvPr/>
        </p:nvSpPr>
        <p:spPr>
          <a:xfrm>
            <a:off x="6765709" y="4105915"/>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rioritization</a:t>
            </a:r>
          </a:p>
        </p:txBody>
      </p:sp>
      <p:sp>
        <p:nvSpPr>
          <p:cNvPr id="269" name="Rectangle 268">
            <a:extLst>
              <a:ext uri="{FF2B5EF4-FFF2-40B4-BE49-F238E27FC236}">
                <a16:creationId xmlns:a16="http://schemas.microsoft.com/office/drawing/2014/main" id="{8830F413-FD0D-92CA-E93B-1079AD56C21E}"/>
              </a:ext>
            </a:extLst>
          </p:cNvPr>
          <p:cNvSpPr/>
          <p:nvPr/>
        </p:nvSpPr>
        <p:spPr>
          <a:xfrm>
            <a:off x="6765709" y="4407397"/>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roduct Development</a:t>
            </a:r>
          </a:p>
        </p:txBody>
      </p:sp>
      <p:sp>
        <p:nvSpPr>
          <p:cNvPr id="270" name="Rectangle 269">
            <a:extLst>
              <a:ext uri="{FF2B5EF4-FFF2-40B4-BE49-F238E27FC236}">
                <a16:creationId xmlns:a16="http://schemas.microsoft.com/office/drawing/2014/main" id="{BD2E7072-21B5-726B-CD46-CCA076FE703A}"/>
              </a:ext>
            </a:extLst>
          </p:cNvPr>
          <p:cNvSpPr/>
          <p:nvPr/>
        </p:nvSpPr>
        <p:spPr>
          <a:xfrm>
            <a:off x="6765709" y="470888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roduct Life Cycle </a:t>
            </a:r>
          </a:p>
        </p:txBody>
      </p:sp>
      <p:sp>
        <p:nvSpPr>
          <p:cNvPr id="271" name="Rectangle 270">
            <a:extLst>
              <a:ext uri="{FF2B5EF4-FFF2-40B4-BE49-F238E27FC236}">
                <a16:creationId xmlns:a16="http://schemas.microsoft.com/office/drawing/2014/main" id="{3AABC577-6461-B89D-2ACA-6DF727E6FC33}"/>
              </a:ext>
            </a:extLst>
          </p:cNvPr>
          <p:cNvSpPr/>
          <p:nvPr/>
        </p:nvSpPr>
        <p:spPr>
          <a:xfrm>
            <a:off x="6765709" y="5010362"/>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rofit &amp; Loss</a:t>
            </a:r>
          </a:p>
        </p:txBody>
      </p:sp>
      <p:sp>
        <p:nvSpPr>
          <p:cNvPr id="272" name="Rectangle 271">
            <a:extLst>
              <a:ext uri="{FF2B5EF4-FFF2-40B4-BE49-F238E27FC236}">
                <a16:creationId xmlns:a16="http://schemas.microsoft.com/office/drawing/2014/main" id="{BBC48D0E-020E-6BD5-1156-A9DD16F41DF1}"/>
              </a:ext>
            </a:extLst>
          </p:cNvPr>
          <p:cNvSpPr/>
          <p:nvPr/>
        </p:nvSpPr>
        <p:spPr>
          <a:xfrm>
            <a:off x="6765709" y="5311844"/>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romotions</a:t>
            </a:r>
          </a:p>
        </p:txBody>
      </p:sp>
      <p:sp>
        <p:nvSpPr>
          <p:cNvPr id="276" name="Rectangle 275">
            <a:extLst>
              <a:ext uri="{FF2B5EF4-FFF2-40B4-BE49-F238E27FC236}">
                <a16:creationId xmlns:a16="http://schemas.microsoft.com/office/drawing/2014/main" id="{B218A901-C493-28F5-2778-B0E01D299F3A}"/>
              </a:ext>
            </a:extLst>
          </p:cNvPr>
          <p:cNvSpPr/>
          <p:nvPr/>
        </p:nvSpPr>
        <p:spPr>
          <a:xfrm>
            <a:off x="8165341" y="2598506"/>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Reports</a:t>
            </a:r>
          </a:p>
        </p:txBody>
      </p:sp>
      <p:sp>
        <p:nvSpPr>
          <p:cNvPr id="277" name="Rectangle 276">
            <a:extLst>
              <a:ext uri="{FF2B5EF4-FFF2-40B4-BE49-F238E27FC236}">
                <a16:creationId xmlns:a16="http://schemas.microsoft.com/office/drawing/2014/main" id="{68C8CFA4-FAF6-762D-B007-59BDB786FF1C}"/>
              </a:ext>
            </a:extLst>
          </p:cNvPr>
          <p:cNvSpPr/>
          <p:nvPr/>
        </p:nvSpPr>
        <p:spPr>
          <a:xfrm>
            <a:off x="8165341" y="2899988"/>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Retail Measurement</a:t>
            </a:r>
          </a:p>
        </p:txBody>
      </p:sp>
      <p:sp>
        <p:nvSpPr>
          <p:cNvPr id="278" name="Rectangle 277">
            <a:extLst>
              <a:ext uri="{FF2B5EF4-FFF2-40B4-BE49-F238E27FC236}">
                <a16:creationId xmlns:a16="http://schemas.microsoft.com/office/drawing/2014/main" id="{77CC94B7-F452-85C6-4A94-96D97A7B49EF}"/>
              </a:ext>
            </a:extLst>
          </p:cNvPr>
          <p:cNvSpPr/>
          <p:nvPr/>
        </p:nvSpPr>
        <p:spPr>
          <a:xfrm>
            <a:off x="8165341" y="320147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Reviews</a:t>
            </a:r>
          </a:p>
        </p:txBody>
      </p:sp>
      <p:sp>
        <p:nvSpPr>
          <p:cNvPr id="279" name="Rectangle 278">
            <a:extLst>
              <a:ext uri="{FF2B5EF4-FFF2-40B4-BE49-F238E27FC236}">
                <a16:creationId xmlns:a16="http://schemas.microsoft.com/office/drawing/2014/main" id="{FF23B3CD-3A70-8127-A51B-BF69F39F4BE7}"/>
              </a:ext>
            </a:extLst>
          </p:cNvPr>
          <p:cNvSpPr/>
          <p:nvPr/>
        </p:nvSpPr>
        <p:spPr>
          <a:xfrm>
            <a:off x="8165341" y="3502951"/>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Sales Management</a:t>
            </a:r>
          </a:p>
        </p:txBody>
      </p:sp>
      <p:sp>
        <p:nvSpPr>
          <p:cNvPr id="280" name="Rectangle 279">
            <a:extLst>
              <a:ext uri="{FF2B5EF4-FFF2-40B4-BE49-F238E27FC236}">
                <a16:creationId xmlns:a16="http://schemas.microsoft.com/office/drawing/2014/main" id="{E3254516-FB40-3D29-6822-153BE61A6B30}"/>
              </a:ext>
            </a:extLst>
          </p:cNvPr>
          <p:cNvSpPr/>
          <p:nvPr/>
        </p:nvSpPr>
        <p:spPr>
          <a:xfrm>
            <a:off x="8165341" y="3804433"/>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Scorecards</a:t>
            </a:r>
          </a:p>
        </p:txBody>
      </p:sp>
      <p:sp>
        <p:nvSpPr>
          <p:cNvPr id="281" name="Rectangle 280">
            <a:extLst>
              <a:ext uri="{FF2B5EF4-FFF2-40B4-BE49-F238E27FC236}">
                <a16:creationId xmlns:a16="http://schemas.microsoft.com/office/drawing/2014/main" id="{55BFD9A4-BB02-BF9A-476C-4D04E53D439F}"/>
              </a:ext>
            </a:extLst>
          </p:cNvPr>
          <p:cNvSpPr/>
          <p:nvPr/>
        </p:nvSpPr>
        <p:spPr>
          <a:xfrm>
            <a:off x="8165341" y="4105915"/>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Segmentation</a:t>
            </a:r>
          </a:p>
        </p:txBody>
      </p:sp>
      <p:sp>
        <p:nvSpPr>
          <p:cNvPr id="282" name="Rectangle 281">
            <a:extLst>
              <a:ext uri="{FF2B5EF4-FFF2-40B4-BE49-F238E27FC236}">
                <a16:creationId xmlns:a16="http://schemas.microsoft.com/office/drawing/2014/main" id="{153860B7-1575-ADC6-3C48-FB2EB1CE9805}"/>
              </a:ext>
            </a:extLst>
          </p:cNvPr>
          <p:cNvSpPr/>
          <p:nvPr/>
        </p:nvSpPr>
        <p:spPr>
          <a:xfrm>
            <a:off x="8165341" y="4407397"/>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Six Sigma</a:t>
            </a:r>
          </a:p>
        </p:txBody>
      </p:sp>
      <p:sp>
        <p:nvSpPr>
          <p:cNvPr id="283" name="Rectangle 282">
            <a:extLst>
              <a:ext uri="{FF2B5EF4-FFF2-40B4-BE49-F238E27FC236}">
                <a16:creationId xmlns:a16="http://schemas.microsoft.com/office/drawing/2014/main" id="{C08892E5-0CA0-8C44-03E1-6EE6FF72B404}"/>
              </a:ext>
            </a:extLst>
          </p:cNvPr>
          <p:cNvSpPr/>
          <p:nvPr/>
        </p:nvSpPr>
        <p:spPr>
          <a:xfrm>
            <a:off x="8165341" y="470888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Socio Economic Classification</a:t>
            </a:r>
          </a:p>
        </p:txBody>
      </p:sp>
      <p:sp>
        <p:nvSpPr>
          <p:cNvPr id="284" name="Rectangle 283">
            <a:extLst>
              <a:ext uri="{FF2B5EF4-FFF2-40B4-BE49-F238E27FC236}">
                <a16:creationId xmlns:a16="http://schemas.microsoft.com/office/drawing/2014/main" id="{EE72C546-ABD8-5D12-0A95-3F1109F029A4}"/>
              </a:ext>
            </a:extLst>
          </p:cNvPr>
          <p:cNvSpPr/>
          <p:nvPr/>
        </p:nvSpPr>
        <p:spPr>
          <a:xfrm>
            <a:off x="8165341" y="5010362"/>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Territory Design </a:t>
            </a:r>
          </a:p>
        </p:txBody>
      </p:sp>
      <p:sp>
        <p:nvSpPr>
          <p:cNvPr id="285" name="Rectangle 284">
            <a:extLst>
              <a:ext uri="{FF2B5EF4-FFF2-40B4-BE49-F238E27FC236}">
                <a16:creationId xmlns:a16="http://schemas.microsoft.com/office/drawing/2014/main" id="{823DCBF6-4530-0ED4-C2DD-150C24901CB8}"/>
              </a:ext>
            </a:extLst>
          </p:cNvPr>
          <p:cNvSpPr/>
          <p:nvPr/>
        </p:nvSpPr>
        <p:spPr>
          <a:xfrm>
            <a:off x="8165341" y="5311844"/>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Trade Marketing</a:t>
            </a:r>
          </a:p>
        </p:txBody>
      </p:sp>
      <p:sp>
        <p:nvSpPr>
          <p:cNvPr id="302" name="Subtitle 2">
            <a:extLst>
              <a:ext uri="{FF2B5EF4-FFF2-40B4-BE49-F238E27FC236}">
                <a16:creationId xmlns:a16="http://schemas.microsoft.com/office/drawing/2014/main" id="{030D35E0-DDFC-BA58-820E-33210637101B}"/>
              </a:ext>
            </a:extLst>
          </p:cNvPr>
          <p:cNvSpPr txBox="1">
            <a:spLocks/>
          </p:cNvSpPr>
          <p:nvPr/>
        </p:nvSpPr>
        <p:spPr>
          <a:xfrm>
            <a:off x="2669337" y="2656912"/>
            <a:ext cx="1194582" cy="184666"/>
          </a:xfrm>
          <a:prstGeom prst="rect">
            <a:avLst/>
          </a:prstGeom>
          <a:solidFill>
            <a:schemeClr val="accent3"/>
          </a:solidFill>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543818" rtl="0" eaLnBrk="1" fontAlgn="auto" latinLnBrk="0" hangingPunct="1">
              <a:lnSpc>
                <a:spcPct val="100000"/>
              </a:lnSpc>
              <a:spcBef>
                <a:spcPct val="20000"/>
              </a:spcBef>
              <a:spcAft>
                <a:spcPts val="0"/>
              </a:spcAft>
              <a:buClrTx/>
              <a:buSzTx/>
              <a:buFont typeface="Arial"/>
              <a:buNone/>
              <a:tabLst/>
              <a:defRPr/>
            </a:pPr>
            <a:r>
              <a:rPr kumimoji="0" lang="en-US" sz="900" b="0" i="0" u="none" strike="noStrike" kern="1200" cap="none" spc="0" normalizeH="0" baseline="0" noProof="0" dirty="0">
                <a:ln>
                  <a:noFill/>
                </a:ln>
                <a:solidFill>
                  <a:prstClr val="black"/>
                </a:solidFill>
                <a:effectLst/>
                <a:uLnTx/>
                <a:uFillTx/>
                <a:latin typeface="Poppins" panose="00000500000000000000" pitchFamily="2" charset="0"/>
                <a:ea typeface="Lato Light" panose="020F0502020204030203" pitchFamily="34" charset="0"/>
                <a:cs typeface="Poppins" panose="00000500000000000000" pitchFamily="2" charset="0"/>
              </a:rPr>
              <a:t>Advertising </a:t>
            </a:r>
          </a:p>
        </p:txBody>
      </p:sp>
      <p:sp>
        <p:nvSpPr>
          <p:cNvPr id="404" name="Rectangle 403">
            <a:extLst>
              <a:ext uri="{FF2B5EF4-FFF2-40B4-BE49-F238E27FC236}">
                <a16:creationId xmlns:a16="http://schemas.microsoft.com/office/drawing/2014/main" id="{38E85A02-4BD6-B709-1D85-3C840385CF46}"/>
              </a:ext>
            </a:extLst>
          </p:cNvPr>
          <p:cNvSpPr/>
          <p:nvPr/>
        </p:nvSpPr>
        <p:spPr>
          <a:xfrm>
            <a:off x="2585416" y="2272945"/>
            <a:ext cx="6969550" cy="301482"/>
          </a:xfrm>
          <a:prstGeom prst="rect">
            <a:avLst/>
          </a:prstGeom>
          <a:solidFill>
            <a:srgbClr val="08204D"/>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rPr>
              <a:t>Types </a:t>
            </a:r>
            <a:endParaRPr kumimoji="0" lang="en-US" sz="16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05" name="Rectangle 404">
            <a:extLst>
              <a:ext uri="{FF2B5EF4-FFF2-40B4-BE49-F238E27FC236}">
                <a16:creationId xmlns:a16="http://schemas.microsoft.com/office/drawing/2014/main" id="{30038924-87B0-82D9-2294-0C757E4DC68F}"/>
              </a:ext>
            </a:extLst>
          </p:cNvPr>
          <p:cNvSpPr/>
          <p:nvPr/>
        </p:nvSpPr>
        <p:spPr>
          <a:xfrm>
            <a:off x="417987" y="2046913"/>
            <a:ext cx="2045574" cy="301482"/>
          </a:xfrm>
          <a:prstGeom prst="rect">
            <a:avLst/>
          </a:prstGeom>
          <a:solidFill>
            <a:srgbClr val="08204D"/>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FFFFFF"/>
                </a:solidFill>
                <a:effectLst/>
                <a:uLnTx/>
                <a:uFillTx/>
                <a:latin typeface="Poppins" panose="00000500000000000000" pitchFamily="2" charset="0"/>
                <a:ea typeface="+mn-ea"/>
                <a:cs typeface="Poppins" panose="00000500000000000000" pitchFamily="2" charset="0"/>
              </a:rPr>
              <a:t>Categories </a:t>
            </a:r>
            <a:endParaRPr kumimoji="0" lang="en-US" sz="1800" b="1" i="0" u="none" strike="noStrike" kern="0" cap="none" spc="0" normalizeH="0" baseline="0" noProof="0" dirty="0">
              <a:ln>
                <a:noFill/>
              </a:ln>
              <a:solidFill>
                <a:srgbClr val="FFFFFF"/>
              </a:solidFill>
              <a:effectLst/>
              <a:uLnTx/>
              <a:uFillTx/>
              <a:latin typeface="Poppins" panose="00000500000000000000" pitchFamily="2" charset="0"/>
              <a:ea typeface="+mn-ea"/>
              <a:cs typeface="Poppins" panose="00000500000000000000" pitchFamily="2" charset="0"/>
            </a:endParaRPr>
          </a:p>
        </p:txBody>
      </p:sp>
      <p:sp>
        <p:nvSpPr>
          <p:cNvPr id="406" name="Rectangle 405">
            <a:extLst>
              <a:ext uri="{FF2B5EF4-FFF2-40B4-BE49-F238E27FC236}">
                <a16:creationId xmlns:a16="http://schemas.microsoft.com/office/drawing/2014/main" id="{6DA83EFB-1677-30B7-9A6F-789A148840B4}"/>
              </a:ext>
            </a:extLst>
          </p:cNvPr>
          <p:cNvSpPr/>
          <p:nvPr/>
        </p:nvSpPr>
        <p:spPr>
          <a:xfrm>
            <a:off x="9627908" y="2016089"/>
            <a:ext cx="2033267" cy="301482"/>
          </a:xfrm>
          <a:prstGeom prst="rect">
            <a:avLst/>
          </a:prstGeom>
          <a:solidFill>
            <a:srgbClr val="08204D"/>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FFFFFF"/>
                </a:solidFill>
                <a:effectLst/>
                <a:uLnTx/>
                <a:uFillTx/>
                <a:latin typeface="Poppins" panose="00000500000000000000" pitchFamily="2" charset="0"/>
                <a:ea typeface="+mn-ea"/>
                <a:cs typeface="Poppins" panose="00000500000000000000" pitchFamily="2" charset="0"/>
              </a:rPr>
              <a:t>Functions </a:t>
            </a:r>
            <a:endParaRPr kumimoji="0" lang="en-US" sz="1800" b="1" i="0" u="none" strike="noStrike" kern="0" cap="none" spc="0" normalizeH="0" baseline="0" noProof="0" dirty="0">
              <a:ln>
                <a:noFill/>
              </a:ln>
              <a:solidFill>
                <a:srgbClr val="FFFFFF"/>
              </a:solidFill>
              <a:effectLst/>
              <a:uLnTx/>
              <a:uFillTx/>
              <a:latin typeface="Poppins" panose="00000500000000000000" pitchFamily="2" charset="0"/>
              <a:ea typeface="+mn-ea"/>
              <a:cs typeface="Poppins" panose="00000500000000000000" pitchFamily="2" charset="0"/>
            </a:endParaRPr>
          </a:p>
        </p:txBody>
      </p:sp>
      <p:sp>
        <p:nvSpPr>
          <p:cNvPr id="409" name="TextBox 408">
            <a:extLst>
              <a:ext uri="{FF2B5EF4-FFF2-40B4-BE49-F238E27FC236}">
                <a16:creationId xmlns:a16="http://schemas.microsoft.com/office/drawing/2014/main" id="{33C638C9-A894-C800-D961-E361E973ECA1}"/>
              </a:ext>
            </a:extLst>
          </p:cNvPr>
          <p:cNvSpPr txBox="1"/>
          <p:nvPr/>
        </p:nvSpPr>
        <p:spPr>
          <a:xfrm>
            <a:off x="2946392" y="127618"/>
            <a:ext cx="513282" cy="276999"/>
          </a:xfrm>
          <a:prstGeom prst="rect">
            <a:avLst/>
          </a:prstGeom>
          <a:no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Poppins" pitchFamily="2" charset="77"/>
                <a:ea typeface="League Spartan" charset="0"/>
                <a:cs typeface="Poppins" pitchFamily="2" charset="77"/>
              </a:rPr>
              <a:t>2017</a:t>
            </a:r>
          </a:p>
        </p:txBody>
      </p:sp>
      <p:sp>
        <p:nvSpPr>
          <p:cNvPr id="410" name="TextBox 409">
            <a:extLst>
              <a:ext uri="{FF2B5EF4-FFF2-40B4-BE49-F238E27FC236}">
                <a16:creationId xmlns:a16="http://schemas.microsoft.com/office/drawing/2014/main" id="{50F1A73F-4CED-C9B6-896C-FB7BA8A781DC}"/>
              </a:ext>
            </a:extLst>
          </p:cNvPr>
          <p:cNvSpPr txBox="1"/>
          <p:nvPr/>
        </p:nvSpPr>
        <p:spPr>
          <a:xfrm>
            <a:off x="4337208" y="127618"/>
            <a:ext cx="530915" cy="276999"/>
          </a:xfrm>
          <a:prstGeom prst="rect">
            <a:avLst/>
          </a:prstGeom>
          <a:no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Poppins" pitchFamily="2" charset="77"/>
                <a:ea typeface="League Spartan" charset="0"/>
                <a:cs typeface="Poppins" pitchFamily="2" charset="77"/>
              </a:rPr>
              <a:t>2018</a:t>
            </a:r>
          </a:p>
        </p:txBody>
      </p:sp>
      <p:sp>
        <p:nvSpPr>
          <p:cNvPr id="417" name="Rectangle 416">
            <a:extLst>
              <a:ext uri="{FF2B5EF4-FFF2-40B4-BE49-F238E27FC236}">
                <a16:creationId xmlns:a16="http://schemas.microsoft.com/office/drawing/2014/main" id="{955C6E00-EA50-E7AD-9C3A-C92755634899}"/>
              </a:ext>
            </a:extLst>
          </p:cNvPr>
          <p:cNvSpPr/>
          <p:nvPr/>
        </p:nvSpPr>
        <p:spPr>
          <a:xfrm>
            <a:off x="419439" y="2969008"/>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Assessments</a:t>
            </a:r>
          </a:p>
        </p:txBody>
      </p:sp>
      <p:sp>
        <p:nvSpPr>
          <p:cNvPr id="420" name="Rectangle 419">
            <a:extLst>
              <a:ext uri="{FF2B5EF4-FFF2-40B4-BE49-F238E27FC236}">
                <a16:creationId xmlns:a16="http://schemas.microsoft.com/office/drawing/2014/main" id="{F6E1AD4D-0970-C6EB-7EC4-B918A0EB7756}"/>
              </a:ext>
            </a:extLst>
          </p:cNvPr>
          <p:cNvSpPr/>
          <p:nvPr/>
        </p:nvSpPr>
        <p:spPr>
          <a:xfrm>
            <a:off x="9633918" y="5620450"/>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Trade Marketing</a:t>
            </a:r>
          </a:p>
        </p:txBody>
      </p:sp>
      <p:sp>
        <p:nvSpPr>
          <p:cNvPr id="421" name="Rectangle 420">
            <a:extLst>
              <a:ext uri="{FF2B5EF4-FFF2-40B4-BE49-F238E27FC236}">
                <a16:creationId xmlns:a16="http://schemas.microsoft.com/office/drawing/2014/main" id="{F577D6C5-F246-88B1-E448-1919303F761C}"/>
              </a:ext>
            </a:extLst>
          </p:cNvPr>
          <p:cNvSpPr/>
          <p:nvPr/>
        </p:nvSpPr>
        <p:spPr>
          <a:xfrm>
            <a:off x="9628969" y="2319392"/>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22" name="Rectangle 421">
            <a:extLst>
              <a:ext uri="{FF2B5EF4-FFF2-40B4-BE49-F238E27FC236}">
                <a16:creationId xmlns:a16="http://schemas.microsoft.com/office/drawing/2014/main" id="{2CC07D5F-B041-ADE0-C9DC-7791AFC762D6}"/>
              </a:ext>
            </a:extLst>
          </p:cNvPr>
          <p:cNvSpPr/>
          <p:nvPr/>
        </p:nvSpPr>
        <p:spPr>
          <a:xfrm>
            <a:off x="9628969" y="2620874"/>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23" name="Rectangle 422">
            <a:extLst>
              <a:ext uri="{FF2B5EF4-FFF2-40B4-BE49-F238E27FC236}">
                <a16:creationId xmlns:a16="http://schemas.microsoft.com/office/drawing/2014/main" id="{A1CE1A52-01B4-1DBC-CCBD-9E28EF996FC6}"/>
              </a:ext>
            </a:extLst>
          </p:cNvPr>
          <p:cNvSpPr/>
          <p:nvPr/>
        </p:nvSpPr>
        <p:spPr>
          <a:xfrm>
            <a:off x="9628969" y="2922356"/>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24" name="Rectangle 423">
            <a:extLst>
              <a:ext uri="{FF2B5EF4-FFF2-40B4-BE49-F238E27FC236}">
                <a16:creationId xmlns:a16="http://schemas.microsoft.com/office/drawing/2014/main" id="{E2BD4BF1-4F64-6A74-080F-D1F9E17BEC5E}"/>
              </a:ext>
            </a:extLst>
          </p:cNvPr>
          <p:cNvSpPr/>
          <p:nvPr/>
        </p:nvSpPr>
        <p:spPr>
          <a:xfrm>
            <a:off x="9628969" y="3223837"/>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25" name="Rectangle 424">
            <a:extLst>
              <a:ext uri="{FF2B5EF4-FFF2-40B4-BE49-F238E27FC236}">
                <a16:creationId xmlns:a16="http://schemas.microsoft.com/office/drawing/2014/main" id="{4958C8D6-9964-061B-2382-76332C331A44}"/>
              </a:ext>
            </a:extLst>
          </p:cNvPr>
          <p:cNvSpPr/>
          <p:nvPr/>
        </p:nvSpPr>
        <p:spPr>
          <a:xfrm>
            <a:off x="9628969" y="3525319"/>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26" name="Rectangle 425">
            <a:extLst>
              <a:ext uri="{FF2B5EF4-FFF2-40B4-BE49-F238E27FC236}">
                <a16:creationId xmlns:a16="http://schemas.microsoft.com/office/drawing/2014/main" id="{D3254E9D-7D83-47B7-7D60-30841516F704}"/>
              </a:ext>
            </a:extLst>
          </p:cNvPr>
          <p:cNvSpPr/>
          <p:nvPr/>
        </p:nvSpPr>
        <p:spPr>
          <a:xfrm>
            <a:off x="9628969" y="3826801"/>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27" name="Rectangle 426">
            <a:extLst>
              <a:ext uri="{FF2B5EF4-FFF2-40B4-BE49-F238E27FC236}">
                <a16:creationId xmlns:a16="http://schemas.microsoft.com/office/drawing/2014/main" id="{FA1C6158-D629-3ACC-182B-702DA5CEB620}"/>
              </a:ext>
            </a:extLst>
          </p:cNvPr>
          <p:cNvSpPr/>
          <p:nvPr/>
        </p:nvSpPr>
        <p:spPr>
          <a:xfrm>
            <a:off x="9628969" y="4128283"/>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28" name="Rectangle 427">
            <a:extLst>
              <a:ext uri="{FF2B5EF4-FFF2-40B4-BE49-F238E27FC236}">
                <a16:creationId xmlns:a16="http://schemas.microsoft.com/office/drawing/2014/main" id="{B34B299C-995C-A860-A54D-95FCF8043490}"/>
              </a:ext>
            </a:extLst>
          </p:cNvPr>
          <p:cNvSpPr/>
          <p:nvPr/>
        </p:nvSpPr>
        <p:spPr>
          <a:xfrm>
            <a:off x="9628969" y="4429766"/>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29" name="Rectangle 428">
            <a:extLst>
              <a:ext uri="{FF2B5EF4-FFF2-40B4-BE49-F238E27FC236}">
                <a16:creationId xmlns:a16="http://schemas.microsoft.com/office/drawing/2014/main" id="{2910CB2E-1FA3-4D66-D51A-76660BA30707}"/>
              </a:ext>
            </a:extLst>
          </p:cNvPr>
          <p:cNvSpPr/>
          <p:nvPr/>
        </p:nvSpPr>
        <p:spPr>
          <a:xfrm>
            <a:off x="9628969" y="4731248"/>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30" name="Rectangle 429">
            <a:extLst>
              <a:ext uri="{FF2B5EF4-FFF2-40B4-BE49-F238E27FC236}">
                <a16:creationId xmlns:a16="http://schemas.microsoft.com/office/drawing/2014/main" id="{0A2DA5BF-8ABD-B345-3F05-7E94DF000070}"/>
              </a:ext>
            </a:extLst>
          </p:cNvPr>
          <p:cNvSpPr/>
          <p:nvPr/>
        </p:nvSpPr>
        <p:spPr>
          <a:xfrm>
            <a:off x="9628969" y="5032730"/>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31" name="TextBox 430">
            <a:extLst>
              <a:ext uri="{FF2B5EF4-FFF2-40B4-BE49-F238E27FC236}">
                <a16:creationId xmlns:a16="http://schemas.microsoft.com/office/drawing/2014/main" id="{A2EFB756-A063-8C57-88A3-2C9328881F91}"/>
              </a:ext>
            </a:extLst>
          </p:cNvPr>
          <p:cNvSpPr txBox="1"/>
          <p:nvPr/>
        </p:nvSpPr>
        <p:spPr>
          <a:xfrm>
            <a:off x="9908048" y="2354717"/>
            <a:ext cx="1494319"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Business Development</a:t>
            </a:r>
          </a:p>
        </p:txBody>
      </p:sp>
      <p:sp>
        <p:nvSpPr>
          <p:cNvPr id="432" name="TextBox 431">
            <a:extLst>
              <a:ext uri="{FF2B5EF4-FFF2-40B4-BE49-F238E27FC236}">
                <a16:creationId xmlns:a16="http://schemas.microsoft.com/office/drawing/2014/main" id="{BF086764-A61E-1766-C1DE-CF981DEE0440}"/>
              </a:ext>
            </a:extLst>
          </p:cNvPr>
          <p:cNvSpPr txBox="1"/>
          <p:nvPr/>
        </p:nvSpPr>
        <p:spPr>
          <a:xfrm>
            <a:off x="9882397" y="2656199"/>
            <a:ext cx="1545616"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Category Management</a:t>
            </a:r>
          </a:p>
        </p:txBody>
      </p:sp>
      <p:sp>
        <p:nvSpPr>
          <p:cNvPr id="433" name="TextBox 432">
            <a:extLst>
              <a:ext uri="{FF2B5EF4-FFF2-40B4-BE49-F238E27FC236}">
                <a16:creationId xmlns:a16="http://schemas.microsoft.com/office/drawing/2014/main" id="{9E0F0733-B49C-7A85-E078-2B457AFEB422}"/>
              </a:ext>
            </a:extLst>
          </p:cNvPr>
          <p:cNvSpPr txBox="1"/>
          <p:nvPr/>
        </p:nvSpPr>
        <p:spPr>
          <a:xfrm>
            <a:off x="9893613" y="2957681"/>
            <a:ext cx="1523174"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Channel Management </a:t>
            </a:r>
          </a:p>
        </p:txBody>
      </p:sp>
      <p:sp>
        <p:nvSpPr>
          <p:cNvPr id="434" name="TextBox 433">
            <a:extLst>
              <a:ext uri="{FF2B5EF4-FFF2-40B4-BE49-F238E27FC236}">
                <a16:creationId xmlns:a16="http://schemas.microsoft.com/office/drawing/2014/main" id="{BD130895-19F3-B86D-EF3D-AB1971BF7C47}"/>
              </a:ext>
            </a:extLst>
          </p:cNvPr>
          <p:cNvSpPr txBox="1"/>
          <p:nvPr/>
        </p:nvSpPr>
        <p:spPr>
          <a:xfrm>
            <a:off x="10219830" y="3259162"/>
            <a:ext cx="870751"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Distribution </a:t>
            </a:r>
          </a:p>
        </p:txBody>
      </p:sp>
      <p:sp>
        <p:nvSpPr>
          <p:cNvPr id="435" name="TextBox 434">
            <a:extLst>
              <a:ext uri="{FF2B5EF4-FFF2-40B4-BE49-F238E27FC236}">
                <a16:creationId xmlns:a16="http://schemas.microsoft.com/office/drawing/2014/main" id="{5FF7522B-9FAA-7ED1-8FF8-CD351E501FCF}"/>
              </a:ext>
            </a:extLst>
          </p:cNvPr>
          <p:cNvSpPr txBox="1"/>
          <p:nvPr/>
        </p:nvSpPr>
        <p:spPr>
          <a:xfrm>
            <a:off x="9855950" y="3560644"/>
            <a:ext cx="1598515"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Distributor Management</a:t>
            </a:r>
          </a:p>
        </p:txBody>
      </p:sp>
      <p:sp>
        <p:nvSpPr>
          <p:cNvPr id="436" name="TextBox 435">
            <a:extLst>
              <a:ext uri="{FF2B5EF4-FFF2-40B4-BE49-F238E27FC236}">
                <a16:creationId xmlns:a16="http://schemas.microsoft.com/office/drawing/2014/main" id="{BFEC5A55-179A-E1C1-5436-4DEFDF9CD0F4}"/>
              </a:ext>
            </a:extLst>
          </p:cNvPr>
          <p:cNvSpPr txBox="1"/>
          <p:nvPr/>
        </p:nvSpPr>
        <p:spPr>
          <a:xfrm>
            <a:off x="9924879" y="3862127"/>
            <a:ext cx="1460656"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General Management</a:t>
            </a:r>
          </a:p>
        </p:txBody>
      </p:sp>
      <p:sp>
        <p:nvSpPr>
          <p:cNvPr id="437" name="TextBox 436">
            <a:extLst>
              <a:ext uri="{FF2B5EF4-FFF2-40B4-BE49-F238E27FC236}">
                <a16:creationId xmlns:a16="http://schemas.microsoft.com/office/drawing/2014/main" id="{1C5D2085-6F72-FBE1-7423-7E864138A668}"/>
              </a:ext>
            </a:extLst>
          </p:cNvPr>
          <p:cNvSpPr txBox="1"/>
          <p:nvPr/>
        </p:nvSpPr>
        <p:spPr>
          <a:xfrm>
            <a:off x="9794233" y="4165168"/>
            <a:ext cx="1721945"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Key Account Management</a:t>
            </a:r>
          </a:p>
        </p:txBody>
      </p:sp>
      <p:sp>
        <p:nvSpPr>
          <p:cNvPr id="438" name="TextBox 437">
            <a:extLst>
              <a:ext uri="{FF2B5EF4-FFF2-40B4-BE49-F238E27FC236}">
                <a16:creationId xmlns:a16="http://schemas.microsoft.com/office/drawing/2014/main" id="{98B3BC0C-716C-8AAF-1160-2B671974C2F7}"/>
              </a:ext>
            </a:extLst>
          </p:cNvPr>
          <p:cNvSpPr txBox="1"/>
          <p:nvPr/>
        </p:nvSpPr>
        <p:spPr>
          <a:xfrm>
            <a:off x="10275132" y="4465090"/>
            <a:ext cx="760144"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Marketing</a:t>
            </a:r>
          </a:p>
        </p:txBody>
      </p:sp>
      <p:sp>
        <p:nvSpPr>
          <p:cNvPr id="439" name="TextBox 438">
            <a:extLst>
              <a:ext uri="{FF2B5EF4-FFF2-40B4-BE49-F238E27FC236}">
                <a16:creationId xmlns:a16="http://schemas.microsoft.com/office/drawing/2014/main" id="{849FFBEC-3223-322E-74E8-4C8ECA703AF7}"/>
              </a:ext>
            </a:extLst>
          </p:cNvPr>
          <p:cNvSpPr txBox="1"/>
          <p:nvPr/>
        </p:nvSpPr>
        <p:spPr>
          <a:xfrm>
            <a:off x="9938504" y="4766573"/>
            <a:ext cx="1433406"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Marketing Operations</a:t>
            </a:r>
          </a:p>
        </p:txBody>
      </p:sp>
      <p:sp>
        <p:nvSpPr>
          <p:cNvPr id="440" name="TextBox 439">
            <a:extLst>
              <a:ext uri="{FF2B5EF4-FFF2-40B4-BE49-F238E27FC236}">
                <a16:creationId xmlns:a16="http://schemas.microsoft.com/office/drawing/2014/main" id="{F68FC809-14F5-0DF5-0067-DF938CC217FC}"/>
              </a:ext>
            </a:extLst>
          </p:cNvPr>
          <p:cNvSpPr txBox="1"/>
          <p:nvPr/>
        </p:nvSpPr>
        <p:spPr>
          <a:xfrm>
            <a:off x="10031042" y="5068055"/>
            <a:ext cx="1309974"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Sales Management</a:t>
            </a:r>
          </a:p>
        </p:txBody>
      </p:sp>
      <p:sp>
        <p:nvSpPr>
          <p:cNvPr id="442" name="Rectangle 441">
            <a:extLst>
              <a:ext uri="{FF2B5EF4-FFF2-40B4-BE49-F238E27FC236}">
                <a16:creationId xmlns:a16="http://schemas.microsoft.com/office/drawing/2014/main" id="{36EB569B-E96B-B008-C288-73AB6CCBA0B7}"/>
              </a:ext>
            </a:extLst>
          </p:cNvPr>
          <p:cNvSpPr/>
          <p:nvPr/>
        </p:nvSpPr>
        <p:spPr>
          <a:xfrm>
            <a:off x="9627257" y="5336629"/>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Shopper Marketing</a:t>
            </a:r>
          </a:p>
        </p:txBody>
      </p:sp>
      <p:sp>
        <p:nvSpPr>
          <p:cNvPr id="50" name="TextBox 49">
            <a:extLst>
              <a:ext uri="{FF2B5EF4-FFF2-40B4-BE49-F238E27FC236}">
                <a16:creationId xmlns:a16="http://schemas.microsoft.com/office/drawing/2014/main" id="{3064A203-FB6F-7659-079D-6BCAC94CF1C7}"/>
              </a:ext>
            </a:extLst>
          </p:cNvPr>
          <p:cNvSpPr txBox="1"/>
          <p:nvPr/>
        </p:nvSpPr>
        <p:spPr>
          <a:xfrm>
            <a:off x="295246" y="458275"/>
            <a:ext cx="11652986"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284B8D"/>
                </a:solidFill>
                <a:effectLst/>
                <a:uLnTx/>
                <a:uFillTx/>
                <a:latin typeface="-apple-system"/>
                <a:ea typeface="+mn-ea"/>
                <a:cs typeface="+mn-cs"/>
              </a:rPr>
              <a:t>100’s of tools grouped in 12 categories, 50 tool types and 12 business functions in 1 place</a:t>
            </a:r>
            <a:r>
              <a:rPr kumimoji="0" lang="en-GB" sz="2400" b="0" i="0" u="none" strike="noStrike" kern="1200" cap="none" spc="0" normalizeH="0" baseline="0" noProof="0" dirty="0">
                <a:ln>
                  <a:noFill/>
                </a:ln>
                <a:solidFill>
                  <a:prstClr val="black"/>
                </a:solidFill>
                <a:effectLst/>
                <a:uLnTx/>
                <a:uFillTx/>
                <a:latin typeface="Inter"/>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284B8D"/>
                </a:solidFill>
                <a:effectLst/>
                <a:uLnTx/>
                <a:uFillTx/>
                <a:latin typeface="-apple-system"/>
                <a:ea typeface="+mn-ea"/>
                <a:cs typeface="+mn-cs"/>
              </a:rPr>
              <a:t>get </a:t>
            </a:r>
            <a:r>
              <a:rPr kumimoji="0" lang="en-GB" sz="1800" b="1" i="0" u="none" strike="noStrike" kern="1200" cap="none" spc="0" normalizeH="0" baseline="0" noProof="0" dirty="0">
                <a:ln>
                  <a:noFill/>
                </a:ln>
                <a:solidFill>
                  <a:srgbClr val="A6BF0A"/>
                </a:solidFill>
                <a:effectLst/>
                <a:uLnTx/>
                <a:uFillTx/>
                <a:latin typeface="-apple-system"/>
                <a:ea typeface="+mn-ea"/>
                <a:cs typeface="+mn-cs"/>
              </a:rPr>
              <a:t>10X</a:t>
            </a:r>
            <a:r>
              <a:rPr kumimoji="0" lang="en-GB" sz="1800" b="1" i="0" u="none" strike="noStrike" kern="1200" cap="none" spc="0" normalizeH="0" baseline="0" noProof="0" dirty="0">
                <a:ln>
                  <a:noFill/>
                </a:ln>
                <a:solidFill>
                  <a:srgbClr val="284B8D"/>
                </a:solidFill>
                <a:effectLst/>
                <a:uLnTx/>
                <a:uFillTx/>
                <a:latin typeface="-apple-system"/>
                <a:ea typeface="+mn-ea"/>
                <a:cs typeface="+mn-cs"/>
              </a:rPr>
              <a:t> productive now !</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704311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8D00752-B857-011E-5003-BE1909D636F3}"/>
              </a:ext>
            </a:extLst>
          </p:cNvPr>
          <p:cNvSpPr/>
          <p:nvPr/>
        </p:nvSpPr>
        <p:spPr>
          <a:xfrm>
            <a:off x="2179236" y="2137024"/>
            <a:ext cx="4468142" cy="254799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Light"/>
              <a:ea typeface="+mn-ea"/>
              <a:cs typeface="+mn-cs"/>
            </a:endParaRPr>
          </a:p>
        </p:txBody>
      </p:sp>
      <p:sp>
        <p:nvSpPr>
          <p:cNvPr id="2" name="TextBox 1">
            <a:extLst>
              <a:ext uri="{FF2B5EF4-FFF2-40B4-BE49-F238E27FC236}">
                <a16:creationId xmlns:a16="http://schemas.microsoft.com/office/drawing/2014/main" id="{745E312C-1151-2EBF-8248-81E49F3B91D7}"/>
              </a:ext>
            </a:extLst>
          </p:cNvPr>
          <p:cNvSpPr txBox="1"/>
          <p:nvPr/>
        </p:nvSpPr>
        <p:spPr>
          <a:xfrm>
            <a:off x="97774" y="54694"/>
            <a:ext cx="6413314" cy="805092"/>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  </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Lato Light" panose="020F0502020204030203" pitchFamily="34" charset="0"/>
                <a:cs typeface="Poppins" panose="00000500000000000000" pitchFamily="2" charset="0"/>
              </a:rPr>
              <a:t>TM Communication Opportunities before a purchase </a:t>
            </a:r>
          </a:p>
        </p:txBody>
      </p:sp>
      <p:pic>
        <p:nvPicPr>
          <p:cNvPr id="5122" name="Picture 2" descr="Consumer's path to purchase">
            <a:extLst>
              <a:ext uri="{FF2B5EF4-FFF2-40B4-BE49-F238E27FC236}">
                <a16:creationId xmlns:a16="http://schemas.microsoft.com/office/drawing/2014/main" id="{66A56E70-0DE1-4E58-07DE-05D3054E89F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41189" y="456897"/>
            <a:ext cx="4524984" cy="2196208"/>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CF24EB41-0CC7-F0E7-BB4A-E8B6CFFB4014}"/>
              </a:ext>
            </a:extLst>
          </p:cNvPr>
          <p:cNvSpPr/>
          <p:nvPr/>
        </p:nvSpPr>
        <p:spPr>
          <a:xfrm>
            <a:off x="2167847" y="1530849"/>
            <a:ext cx="4500081" cy="575353"/>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Befor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Purchase </a:t>
            </a:r>
          </a:p>
        </p:txBody>
      </p:sp>
      <p:sp>
        <p:nvSpPr>
          <p:cNvPr id="4" name="Rectangle 3">
            <a:extLst>
              <a:ext uri="{FF2B5EF4-FFF2-40B4-BE49-F238E27FC236}">
                <a16:creationId xmlns:a16="http://schemas.microsoft.com/office/drawing/2014/main" id="{B29125D2-C4F0-7DF5-4CD0-3826DAE50FC3}"/>
              </a:ext>
            </a:extLst>
          </p:cNvPr>
          <p:cNvSpPr/>
          <p:nvPr/>
        </p:nvSpPr>
        <p:spPr>
          <a:xfrm>
            <a:off x="6709025" y="1520575"/>
            <a:ext cx="4623371" cy="565079"/>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Dur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Purchase </a:t>
            </a:r>
          </a:p>
        </p:txBody>
      </p:sp>
      <p:sp>
        <p:nvSpPr>
          <p:cNvPr id="7" name="TextBox 6">
            <a:extLst>
              <a:ext uri="{FF2B5EF4-FFF2-40B4-BE49-F238E27FC236}">
                <a16:creationId xmlns:a16="http://schemas.microsoft.com/office/drawing/2014/main" id="{352B984B-D727-92D9-D313-35917CFDA071}"/>
              </a:ext>
            </a:extLst>
          </p:cNvPr>
          <p:cNvSpPr txBox="1"/>
          <p:nvPr/>
        </p:nvSpPr>
        <p:spPr>
          <a:xfrm>
            <a:off x="2239766" y="3955545"/>
            <a:ext cx="657546"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Lato Light"/>
                <a:ea typeface="+mn-ea"/>
                <a:cs typeface="+mn-cs"/>
              </a:rPr>
              <a:t>Home </a:t>
            </a:r>
          </a:p>
        </p:txBody>
      </p:sp>
      <p:sp>
        <p:nvSpPr>
          <p:cNvPr id="8" name="TextBox 7">
            <a:extLst>
              <a:ext uri="{FF2B5EF4-FFF2-40B4-BE49-F238E27FC236}">
                <a16:creationId xmlns:a16="http://schemas.microsoft.com/office/drawing/2014/main" id="{EDD7674B-3BF9-2D3A-B918-05D5258599B1}"/>
              </a:ext>
            </a:extLst>
          </p:cNvPr>
          <p:cNvSpPr txBox="1"/>
          <p:nvPr/>
        </p:nvSpPr>
        <p:spPr>
          <a:xfrm>
            <a:off x="2936697" y="3224367"/>
            <a:ext cx="657546"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Lato Light"/>
                <a:ea typeface="+mn-ea"/>
                <a:cs typeface="+mn-cs"/>
              </a:rPr>
              <a:t>School </a:t>
            </a:r>
          </a:p>
        </p:txBody>
      </p:sp>
      <p:sp>
        <p:nvSpPr>
          <p:cNvPr id="9" name="TextBox 8">
            <a:extLst>
              <a:ext uri="{FF2B5EF4-FFF2-40B4-BE49-F238E27FC236}">
                <a16:creationId xmlns:a16="http://schemas.microsoft.com/office/drawing/2014/main" id="{B15D31B9-8B79-9E4F-745F-B7BB6B5E2D03}"/>
              </a:ext>
            </a:extLst>
          </p:cNvPr>
          <p:cNvSpPr txBox="1"/>
          <p:nvPr/>
        </p:nvSpPr>
        <p:spPr>
          <a:xfrm>
            <a:off x="4065140" y="2780866"/>
            <a:ext cx="657546"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Lato Light"/>
                <a:ea typeface="+mn-ea"/>
                <a:cs typeface="+mn-cs"/>
              </a:rPr>
              <a:t>Work </a:t>
            </a:r>
          </a:p>
        </p:txBody>
      </p:sp>
      <p:sp>
        <p:nvSpPr>
          <p:cNvPr id="10" name="TextBox 9">
            <a:extLst>
              <a:ext uri="{FF2B5EF4-FFF2-40B4-BE49-F238E27FC236}">
                <a16:creationId xmlns:a16="http://schemas.microsoft.com/office/drawing/2014/main" id="{FD469DD0-424D-A5A9-B2C2-1E4EF16C7EA9}"/>
              </a:ext>
            </a:extLst>
          </p:cNvPr>
          <p:cNvSpPr txBox="1"/>
          <p:nvPr/>
        </p:nvSpPr>
        <p:spPr>
          <a:xfrm>
            <a:off x="4885360" y="3344232"/>
            <a:ext cx="657546"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Lato Light"/>
                <a:ea typeface="+mn-ea"/>
                <a:cs typeface="+mn-cs"/>
              </a:rPr>
              <a:t>Travel</a:t>
            </a:r>
          </a:p>
        </p:txBody>
      </p:sp>
      <p:sp>
        <p:nvSpPr>
          <p:cNvPr id="11" name="TextBox 10">
            <a:extLst>
              <a:ext uri="{FF2B5EF4-FFF2-40B4-BE49-F238E27FC236}">
                <a16:creationId xmlns:a16="http://schemas.microsoft.com/office/drawing/2014/main" id="{2CFCED0F-2C7B-9072-B262-46D29B6F6253}"/>
              </a:ext>
            </a:extLst>
          </p:cNvPr>
          <p:cNvSpPr txBox="1"/>
          <p:nvPr/>
        </p:nvSpPr>
        <p:spPr>
          <a:xfrm>
            <a:off x="5736402" y="4010340"/>
            <a:ext cx="657546"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Lato Light"/>
                <a:ea typeface="+mn-ea"/>
                <a:cs typeface="+mn-cs"/>
              </a:rPr>
              <a:t>Arrival </a:t>
            </a:r>
          </a:p>
        </p:txBody>
      </p:sp>
      <p:grpSp>
        <p:nvGrpSpPr>
          <p:cNvPr id="25" name="Group 24">
            <a:extLst>
              <a:ext uri="{FF2B5EF4-FFF2-40B4-BE49-F238E27FC236}">
                <a16:creationId xmlns:a16="http://schemas.microsoft.com/office/drawing/2014/main" id="{4B4821F0-6A4A-639E-DD13-B9B03F52FF6F}"/>
              </a:ext>
            </a:extLst>
          </p:cNvPr>
          <p:cNvGrpSpPr/>
          <p:nvPr/>
        </p:nvGrpSpPr>
        <p:grpSpPr>
          <a:xfrm>
            <a:off x="6729573" y="2145587"/>
            <a:ext cx="4640495" cy="2547991"/>
            <a:chOff x="7130265" y="2135312"/>
            <a:chExt cx="4640495" cy="2547991"/>
          </a:xfrm>
        </p:grpSpPr>
        <p:sp>
          <p:nvSpPr>
            <p:cNvPr id="6" name="Rectangle 5">
              <a:extLst>
                <a:ext uri="{FF2B5EF4-FFF2-40B4-BE49-F238E27FC236}">
                  <a16:creationId xmlns:a16="http://schemas.microsoft.com/office/drawing/2014/main" id="{F6E97923-2A72-6D53-65E1-A417B7F9F5D1}"/>
                </a:ext>
              </a:extLst>
            </p:cNvPr>
            <p:cNvSpPr/>
            <p:nvPr/>
          </p:nvSpPr>
          <p:spPr>
            <a:xfrm>
              <a:off x="7130265" y="2135312"/>
              <a:ext cx="4602821" cy="254799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Light"/>
                <a:ea typeface="+mn-ea"/>
                <a:cs typeface="+mn-cs"/>
              </a:endParaRPr>
            </a:p>
          </p:txBody>
        </p:sp>
        <p:sp>
          <p:nvSpPr>
            <p:cNvPr id="12" name="TextBox 11">
              <a:extLst>
                <a:ext uri="{FF2B5EF4-FFF2-40B4-BE49-F238E27FC236}">
                  <a16:creationId xmlns:a16="http://schemas.microsoft.com/office/drawing/2014/main" id="{10502162-D4DB-E287-D210-52E153EF9A3B}"/>
                </a:ext>
              </a:extLst>
            </p:cNvPr>
            <p:cNvSpPr txBox="1"/>
            <p:nvPr/>
          </p:nvSpPr>
          <p:spPr>
            <a:xfrm>
              <a:off x="7460748" y="4255214"/>
              <a:ext cx="657546"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Lato Light"/>
                  <a:ea typeface="+mn-ea"/>
                  <a:cs typeface="+mn-cs"/>
                </a:rPr>
                <a:t>Signage</a:t>
              </a:r>
            </a:p>
          </p:txBody>
        </p:sp>
        <p:sp>
          <p:nvSpPr>
            <p:cNvPr id="13" name="TextBox 12">
              <a:extLst>
                <a:ext uri="{FF2B5EF4-FFF2-40B4-BE49-F238E27FC236}">
                  <a16:creationId xmlns:a16="http://schemas.microsoft.com/office/drawing/2014/main" id="{F7055137-1C90-C215-6407-6F75FEA18F11}"/>
                </a:ext>
              </a:extLst>
            </p:cNvPr>
            <p:cNvSpPr txBox="1"/>
            <p:nvPr/>
          </p:nvSpPr>
          <p:spPr>
            <a:xfrm>
              <a:off x="7818633" y="3359650"/>
              <a:ext cx="657546"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Lato Light"/>
                  <a:ea typeface="+mn-ea"/>
                  <a:cs typeface="+mn-cs"/>
                </a:rPr>
                <a:t>Posters </a:t>
              </a:r>
            </a:p>
          </p:txBody>
        </p:sp>
        <p:sp>
          <p:nvSpPr>
            <p:cNvPr id="14" name="TextBox 13">
              <a:extLst>
                <a:ext uri="{FF2B5EF4-FFF2-40B4-BE49-F238E27FC236}">
                  <a16:creationId xmlns:a16="http://schemas.microsoft.com/office/drawing/2014/main" id="{B1DCE7A1-2C3B-F3B5-8AE4-FE5155203A34}"/>
                </a:ext>
              </a:extLst>
            </p:cNvPr>
            <p:cNvSpPr txBox="1"/>
            <p:nvPr/>
          </p:nvSpPr>
          <p:spPr>
            <a:xfrm>
              <a:off x="8659402" y="2741489"/>
              <a:ext cx="657546"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Lato Light"/>
                  <a:ea typeface="+mn-ea"/>
                  <a:cs typeface="+mn-cs"/>
                </a:rPr>
                <a:t>Displays</a:t>
              </a:r>
            </a:p>
          </p:txBody>
        </p:sp>
        <p:sp>
          <p:nvSpPr>
            <p:cNvPr id="15" name="TextBox 14">
              <a:extLst>
                <a:ext uri="{FF2B5EF4-FFF2-40B4-BE49-F238E27FC236}">
                  <a16:creationId xmlns:a16="http://schemas.microsoft.com/office/drawing/2014/main" id="{CFB4FFE4-38DC-D6D9-16CF-C1DDB693CECF}"/>
                </a:ext>
              </a:extLst>
            </p:cNvPr>
            <p:cNvSpPr txBox="1"/>
            <p:nvPr/>
          </p:nvSpPr>
          <p:spPr>
            <a:xfrm>
              <a:off x="9448799" y="3089097"/>
              <a:ext cx="866454"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Lato Light"/>
                  <a:ea typeface="+mn-ea"/>
                  <a:cs typeface="+mn-cs"/>
                </a:rPr>
                <a:t>Promotions</a:t>
              </a:r>
            </a:p>
          </p:txBody>
        </p:sp>
        <p:sp>
          <p:nvSpPr>
            <p:cNvPr id="16" name="TextBox 15">
              <a:extLst>
                <a:ext uri="{FF2B5EF4-FFF2-40B4-BE49-F238E27FC236}">
                  <a16:creationId xmlns:a16="http://schemas.microsoft.com/office/drawing/2014/main" id="{18E408D6-D71D-0BE0-09A3-6944DDDA97AF}"/>
                </a:ext>
              </a:extLst>
            </p:cNvPr>
            <p:cNvSpPr txBox="1"/>
            <p:nvPr/>
          </p:nvSpPr>
          <p:spPr>
            <a:xfrm>
              <a:off x="10176552" y="3477803"/>
              <a:ext cx="866454"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Lato Light"/>
                  <a:ea typeface="+mn-ea"/>
                  <a:cs typeface="+mn-cs"/>
                </a:rPr>
                <a:t>Category </a:t>
              </a:r>
            </a:p>
          </p:txBody>
        </p:sp>
        <p:sp>
          <p:nvSpPr>
            <p:cNvPr id="17" name="TextBox 16">
              <a:extLst>
                <a:ext uri="{FF2B5EF4-FFF2-40B4-BE49-F238E27FC236}">
                  <a16:creationId xmlns:a16="http://schemas.microsoft.com/office/drawing/2014/main" id="{40E0704C-C432-CB32-D0B3-22A48121AB46}"/>
                </a:ext>
              </a:extLst>
            </p:cNvPr>
            <p:cNvSpPr txBox="1"/>
            <p:nvPr/>
          </p:nvSpPr>
          <p:spPr>
            <a:xfrm>
              <a:off x="10904306" y="4102816"/>
              <a:ext cx="866454"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Lato Light"/>
                  <a:ea typeface="+mn-ea"/>
                  <a:cs typeface="+mn-cs"/>
                </a:rPr>
                <a:t>Check out </a:t>
              </a:r>
            </a:p>
          </p:txBody>
        </p:sp>
      </p:grpSp>
      <p:sp>
        <p:nvSpPr>
          <p:cNvPr id="18" name="Arrow: Pentagon 17">
            <a:extLst>
              <a:ext uri="{FF2B5EF4-FFF2-40B4-BE49-F238E27FC236}">
                <a16:creationId xmlns:a16="http://schemas.microsoft.com/office/drawing/2014/main" id="{0B132E61-1D39-D2F8-CED5-9FD014F99FE3}"/>
              </a:ext>
            </a:extLst>
          </p:cNvPr>
          <p:cNvSpPr/>
          <p:nvPr/>
        </p:nvSpPr>
        <p:spPr>
          <a:xfrm>
            <a:off x="2126751" y="4777483"/>
            <a:ext cx="4602821" cy="760287"/>
          </a:xfrm>
          <a:prstGeom prst="homePlate">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prstClr val="white"/>
              </a:solidFill>
              <a:effectLst/>
              <a:uLnTx/>
              <a:uFillTx/>
              <a:latin typeface="Lato Light"/>
              <a:ea typeface="+mn-ea"/>
              <a:cs typeface="+mn-cs"/>
            </a:endParaRPr>
          </a:p>
        </p:txBody>
      </p:sp>
      <p:sp>
        <p:nvSpPr>
          <p:cNvPr id="19" name="Arrow: Pentagon 18">
            <a:extLst>
              <a:ext uri="{FF2B5EF4-FFF2-40B4-BE49-F238E27FC236}">
                <a16:creationId xmlns:a16="http://schemas.microsoft.com/office/drawing/2014/main" id="{397FEB47-DC03-15A1-B2FA-F07869F30224}"/>
              </a:ext>
            </a:extLst>
          </p:cNvPr>
          <p:cNvSpPr/>
          <p:nvPr/>
        </p:nvSpPr>
        <p:spPr>
          <a:xfrm>
            <a:off x="6801494" y="4755222"/>
            <a:ext cx="4703851" cy="760287"/>
          </a:xfrm>
          <a:prstGeom prst="homePlate">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prstClr val="white"/>
              </a:solidFill>
              <a:effectLst/>
              <a:uLnTx/>
              <a:uFillTx/>
              <a:latin typeface="Lato Light"/>
              <a:ea typeface="+mn-ea"/>
              <a:cs typeface="+mn-cs"/>
            </a:endParaRPr>
          </a:p>
        </p:txBody>
      </p:sp>
      <p:sp>
        <p:nvSpPr>
          <p:cNvPr id="20" name="TextBox 19">
            <a:extLst>
              <a:ext uri="{FF2B5EF4-FFF2-40B4-BE49-F238E27FC236}">
                <a16:creationId xmlns:a16="http://schemas.microsoft.com/office/drawing/2014/main" id="{095BECB0-D0E0-0417-038F-BD868C701851}"/>
              </a:ext>
            </a:extLst>
          </p:cNvPr>
          <p:cNvSpPr txBox="1"/>
          <p:nvPr/>
        </p:nvSpPr>
        <p:spPr>
          <a:xfrm>
            <a:off x="3543757" y="4969267"/>
            <a:ext cx="2900855" cy="307777"/>
          </a:xfrm>
          <a:prstGeom prst="rect">
            <a:avLst/>
          </a:prstGeom>
          <a:noFill/>
        </p:spPr>
        <p:txBody>
          <a:bodyPr wrap="square" rtlCol="0">
            <a:spAutoFit/>
          </a:bodyPr>
          <a:lstStyle>
            <a:defPPr>
              <a:defRPr lang="en-US"/>
            </a:defPPr>
            <a:lvl1pPr>
              <a:defRPr sz="1400" i="1"/>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dirty="0">
                <a:ln>
                  <a:noFill/>
                </a:ln>
                <a:solidFill>
                  <a:prstClr val="black"/>
                </a:solidFill>
                <a:effectLst/>
                <a:uLnTx/>
                <a:uFillTx/>
                <a:latin typeface="Lato Light"/>
                <a:ea typeface="+mn-ea"/>
                <a:cs typeface="+mn-cs"/>
              </a:rPr>
              <a:t>Purchase Engagement creation</a:t>
            </a:r>
          </a:p>
        </p:txBody>
      </p:sp>
      <p:sp>
        <p:nvSpPr>
          <p:cNvPr id="21" name="TextBox 20">
            <a:extLst>
              <a:ext uri="{FF2B5EF4-FFF2-40B4-BE49-F238E27FC236}">
                <a16:creationId xmlns:a16="http://schemas.microsoft.com/office/drawing/2014/main" id="{9F799968-33BA-7FA1-D543-0825616EAE67}"/>
              </a:ext>
            </a:extLst>
          </p:cNvPr>
          <p:cNvSpPr txBox="1"/>
          <p:nvPr/>
        </p:nvSpPr>
        <p:spPr>
          <a:xfrm>
            <a:off x="7202184" y="4992472"/>
            <a:ext cx="456166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dirty="0">
                <a:ln>
                  <a:noFill/>
                </a:ln>
                <a:solidFill>
                  <a:prstClr val="black"/>
                </a:solidFill>
                <a:effectLst/>
                <a:uLnTx/>
                <a:uFillTx/>
                <a:latin typeface="Lato Light"/>
                <a:ea typeface="+mn-ea"/>
                <a:cs typeface="+mn-cs"/>
              </a:rPr>
              <a:t>Purchase Engagement creation &amp; Altered behaviour</a:t>
            </a:r>
          </a:p>
        </p:txBody>
      </p:sp>
      <p:sp>
        <p:nvSpPr>
          <p:cNvPr id="22" name="TextBox 21">
            <a:extLst>
              <a:ext uri="{FF2B5EF4-FFF2-40B4-BE49-F238E27FC236}">
                <a16:creationId xmlns:a16="http://schemas.microsoft.com/office/drawing/2014/main" id="{FC9781B6-EC0F-39DA-4896-5ED14661CE36}"/>
              </a:ext>
            </a:extLst>
          </p:cNvPr>
          <p:cNvSpPr txBox="1"/>
          <p:nvPr/>
        </p:nvSpPr>
        <p:spPr>
          <a:xfrm rot="16200000">
            <a:off x="420748" y="2974345"/>
            <a:ext cx="2502273" cy="898518"/>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dirty="0">
                <a:ln>
                  <a:noFill/>
                </a:ln>
                <a:solidFill>
                  <a:prstClr val="black"/>
                </a:solidFill>
                <a:effectLst/>
                <a:uLnTx/>
                <a:uFillTx/>
                <a:latin typeface="Lato Light"/>
                <a:ea typeface="+mn-ea"/>
                <a:cs typeface="+mn-cs"/>
              </a:rPr>
              <a:t>Communication Engagement</a:t>
            </a:r>
          </a:p>
        </p:txBody>
      </p:sp>
      <p:sp>
        <p:nvSpPr>
          <p:cNvPr id="23" name="TextBox 22">
            <a:extLst>
              <a:ext uri="{FF2B5EF4-FFF2-40B4-BE49-F238E27FC236}">
                <a16:creationId xmlns:a16="http://schemas.microsoft.com/office/drawing/2014/main" id="{7D46346C-DCB1-FF88-5067-8A48D937C0AD}"/>
              </a:ext>
            </a:extLst>
          </p:cNvPr>
          <p:cNvSpPr txBox="1"/>
          <p:nvPr/>
        </p:nvSpPr>
        <p:spPr>
          <a:xfrm>
            <a:off x="297951" y="4752864"/>
            <a:ext cx="1783680" cy="1113679"/>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prstClr val="black"/>
                </a:solidFill>
                <a:effectLst/>
                <a:uLnTx/>
                <a:uFillTx/>
                <a:latin typeface="Lato Light"/>
                <a:ea typeface="+mn-ea"/>
                <a:cs typeface="+mn-cs"/>
              </a:rPr>
              <a:t>TM Objective </a:t>
            </a:r>
          </a:p>
        </p:txBody>
      </p:sp>
      <mc:AlternateContent xmlns:mc="http://schemas.openxmlformats.org/markup-compatibility/2006" xmlns:p14="http://schemas.microsoft.com/office/powerpoint/2010/main">
        <mc:Choice Requires="p14">
          <p:contentPart p14:bwMode="auto" r:id="rId3">
            <p14:nvContentPartPr>
              <p14:cNvPr id="29" name="Ink 28">
                <a:extLst>
                  <a:ext uri="{FF2B5EF4-FFF2-40B4-BE49-F238E27FC236}">
                    <a16:creationId xmlns:a16="http://schemas.microsoft.com/office/drawing/2014/main" id="{7A558C3B-03C3-6D6D-1F7E-E1BC33D0E1C5}"/>
                  </a:ext>
                </a:extLst>
              </p14:cNvPr>
              <p14:cNvContentPartPr/>
              <p14:nvPr/>
            </p14:nvContentPartPr>
            <p14:xfrm>
              <a:off x="2404132" y="2972783"/>
              <a:ext cx="8773560" cy="1460520"/>
            </p14:xfrm>
          </p:contentPart>
        </mc:Choice>
        <mc:Fallback xmlns="">
          <p:pic>
            <p:nvPicPr>
              <p:cNvPr id="29" name="Ink 28">
                <a:extLst>
                  <a:ext uri="{FF2B5EF4-FFF2-40B4-BE49-F238E27FC236}">
                    <a16:creationId xmlns:a16="http://schemas.microsoft.com/office/drawing/2014/main" id="{7A558C3B-03C3-6D6D-1F7E-E1BC33D0E1C5}"/>
                  </a:ext>
                </a:extLst>
              </p:cNvPr>
              <p:cNvPicPr/>
              <p:nvPr/>
            </p:nvPicPr>
            <p:blipFill>
              <a:blip r:embed="rId4"/>
              <a:stretch>
                <a:fillRect/>
              </a:stretch>
            </p:blipFill>
            <p:spPr>
              <a:xfrm>
                <a:off x="2395132" y="2964143"/>
                <a:ext cx="8791200" cy="1478160"/>
              </a:xfrm>
              <a:prstGeom prst="rect">
                <a:avLst/>
              </a:prstGeom>
            </p:spPr>
          </p:pic>
        </mc:Fallback>
      </mc:AlternateContent>
      <p:cxnSp>
        <p:nvCxnSpPr>
          <p:cNvPr id="33" name="Straight Connector 32">
            <a:extLst>
              <a:ext uri="{FF2B5EF4-FFF2-40B4-BE49-F238E27FC236}">
                <a16:creationId xmlns:a16="http://schemas.microsoft.com/office/drawing/2014/main" id="{1F8AFD4F-14A0-9507-D224-4F2E9C8BBDAD}"/>
              </a:ext>
            </a:extLst>
          </p:cNvPr>
          <p:cNvCxnSpPr>
            <a:cxnSpLocks/>
          </p:cNvCxnSpPr>
          <p:nvPr/>
        </p:nvCxnSpPr>
        <p:spPr>
          <a:xfrm>
            <a:off x="6688476" y="2235099"/>
            <a:ext cx="0" cy="239293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id="{61592FCB-5FBE-9232-0131-7E5AC377E75D}"/>
              </a:ext>
            </a:extLst>
          </p:cNvPr>
          <p:cNvSpPr/>
          <p:nvPr/>
        </p:nvSpPr>
        <p:spPr>
          <a:xfrm>
            <a:off x="2541685" y="4266477"/>
            <a:ext cx="169012" cy="169012"/>
          </a:xfrm>
          <a:prstGeom prst="ellipse">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30" name="Oval 29">
            <a:extLst>
              <a:ext uri="{FF2B5EF4-FFF2-40B4-BE49-F238E27FC236}">
                <a16:creationId xmlns:a16="http://schemas.microsoft.com/office/drawing/2014/main" id="{97290D15-2B3A-AE6B-43B1-165A31A1FE6F}"/>
              </a:ext>
            </a:extLst>
          </p:cNvPr>
          <p:cNvSpPr/>
          <p:nvPr/>
        </p:nvSpPr>
        <p:spPr>
          <a:xfrm>
            <a:off x="3404804" y="3400471"/>
            <a:ext cx="169012" cy="169012"/>
          </a:xfrm>
          <a:prstGeom prst="ellipse">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31" name="Oval 30">
            <a:extLst>
              <a:ext uri="{FF2B5EF4-FFF2-40B4-BE49-F238E27FC236}">
                <a16:creationId xmlns:a16="http://schemas.microsoft.com/office/drawing/2014/main" id="{A06B738A-8B0B-D84D-8722-A9CDEFA3A5E0}"/>
              </a:ext>
            </a:extLst>
          </p:cNvPr>
          <p:cNvSpPr/>
          <p:nvPr/>
        </p:nvSpPr>
        <p:spPr>
          <a:xfrm>
            <a:off x="11067418" y="3999237"/>
            <a:ext cx="169012" cy="169012"/>
          </a:xfrm>
          <a:prstGeom prst="ellipse">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32" name="Oval 31">
            <a:extLst>
              <a:ext uri="{FF2B5EF4-FFF2-40B4-BE49-F238E27FC236}">
                <a16:creationId xmlns:a16="http://schemas.microsoft.com/office/drawing/2014/main" id="{4690BEE8-EA2D-5490-4A58-7505A61997BC}"/>
              </a:ext>
            </a:extLst>
          </p:cNvPr>
          <p:cNvSpPr/>
          <p:nvPr/>
        </p:nvSpPr>
        <p:spPr>
          <a:xfrm>
            <a:off x="10223079" y="3319575"/>
            <a:ext cx="169012" cy="169012"/>
          </a:xfrm>
          <a:prstGeom prst="ellipse">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34" name="Oval 33">
            <a:extLst>
              <a:ext uri="{FF2B5EF4-FFF2-40B4-BE49-F238E27FC236}">
                <a16:creationId xmlns:a16="http://schemas.microsoft.com/office/drawing/2014/main" id="{36A8A544-9359-36FF-405B-36CB5A4601A1}"/>
              </a:ext>
            </a:extLst>
          </p:cNvPr>
          <p:cNvSpPr/>
          <p:nvPr/>
        </p:nvSpPr>
        <p:spPr>
          <a:xfrm>
            <a:off x="9478414" y="2990941"/>
            <a:ext cx="169012" cy="169012"/>
          </a:xfrm>
          <a:prstGeom prst="ellipse">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35" name="Oval 34">
            <a:extLst>
              <a:ext uri="{FF2B5EF4-FFF2-40B4-BE49-F238E27FC236}">
                <a16:creationId xmlns:a16="http://schemas.microsoft.com/office/drawing/2014/main" id="{F827D50E-61E0-3D8B-2EB2-167705DDA6CF}"/>
              </a:ext>
            </a:extLst>
          </p:cNvPr>
          <p:cNvSpPr/>
          <p:nvPr/>
        </p:nvSpPr>
        <p:spPr>
          <a:xfrm>
            <a:off x="8508399" y="2943992"/>
            <a:ext cx="169012" cy="169012"/>
          </a:xfrm>
          <a:prstGeom prst="ellipse">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36" name="Oval 35">
            <a:extLst>
              <a:ext uri="{FF2B5EF4-FFF2-40B4-BE49-F238E27FC236}">
                <a16:creationId xmlns:a16="http://schemas.microsoft.com/office/drawing/2014/main" id="{3D395D78-0BCE-73F1-B8CA-46D20DDFEB0A}"/>
              </a:ext>
            </a:extLst>
          </p:cNvPr>
          <p:cNvSpPr/>
          <p:nvPr/>
        </p:nvSpPr>
        <p:spPr>
          <a:xfrm>
            <a:off x="7885075" y="3521090"/>
            <a:ext cx="169012" cy="169012"/>
          </a:xfrm>
          <a:prstGeom prst="ellipse">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37" name="Oval 36">
            <a:extLst>
              <a:ext uri="{FF2B5EF4-FFF2-40B4-BE49-F238E27FC236}">
                <a16:creationId xmlns:a16="http://schemas.microsoft.com/office/drawing/2014/main" id="{1D04C4B8-8437-3619-6A02-FA452D8328EB}"/>
              </a:ext>
            </a:extLst>
          </p:cNvPr>
          <p:cNvSpPr/>
          <p:nvPr/>
        </p:nvSpPr>
        <p:spPr>
          <a:xfrm>
            <a:off x="7296421" y="4093854"/>
            <a:ext cx="169012" cy="169012"/>
          </a:xfrm>
          <a:prstGeom prst="ellipse">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38" name="Oval 37">
            <a:extLst>
              <a:ext uri="{FF2B5EF4-FFF2-40B4-BE49-F238E27FC236}">
                <a16:creationId xmlns:a16="http://schemas.microsoft.com/office/drawing/2014/main" id="{D5D0C018-65DE-6F87-CA91-48D296F8291D}"/>
              </a:ext>
            </a:extLst>
          </p:cNvPr>
          <p:cNvSpPr/>
          <p:nvPr/>
        </p:nvSpPr>
        <p:spPr>
          <a:xfrm>
            <a:off x="6027384" y="3830223"/>
            <a:ext cx="169012" cy="169012"/>
          </a:xfrm>
          <a:prstGeom prst="ellipse">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39" name="Oval 38">
            <a:extLst>
              <a:ext uri="{FF2B5EF4-FFF2-40B4-BE49-F238E27FC236}">
                <a16:creationId xmlns:a16="http://schemas.microsoft.com/office/drawing/2014/main" id="{687E6E45-064C-B18C-BDD7-64636283CF5E}"/>
              </a:ext>
            </a:extLst>
          </p:cNvPr>
          <p:cNvSpPr/>
          <p:nvPr/>
        </p:nvSpPr>
        <p:spPr>
          <a:xfrm>
            <a:off x="5183045" y="3133229"/>
            <a:ext cx="169012" cy="169012"/>
          </a:xfrm>
          <a:prstGeom prst="ellipse">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40" name="Oval 39">
            <a:extLst>
              <a:ext uri="{FF2B5EF4-FFF2-40B4-BE49-F238E27FC236}">
                <a16:creationId xmlns:a16="http://schemas.microsoft.com/office/drawing/2014/main" id="{C4F5E7FE-4E14-D670-07FB-36B7A1F64C72}"/>
              </a:ext>
            </a:extLst>
          </p:cNvPr>
          <p:cNvSpPr/>
          <p:nvPr/>
        </p:nvSpPr>
        <p:spPr>
          <a:xfrm>
            <a:off x="4308370" y="2947603"/>
            <a:ext cx="169012" cy="169012"/>
          </a:xfrm>
          <a:prstGeom prst="ellipse">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60413518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Logo&#10;&#10;Description automatically generated">
            <a:extLst>
              <a:ext uri="{FF2B5EF4-FFF2-40B4-BE49-F238E27FC236}">
                <a16:creationId xmlns:a16="http://schemas.microsoft.com/office/drawing/2014/main" id="{B7C776E4-7CBD-0D8D-8B10-C90135C4EA8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3" name="Footer Placeholder 3">
            <a:extLst>
              <a:ext uri="{FF2B5EF4-FFF2-40B4-BE49-F238E27FC236}">
                <a16:creationId xmlns:a16="http://schemas.microsoft.com/office/drawing/2014/main" id="{378A3183-F720-0D84-14A9-E8F8E0EFC5D2}"/>
              </a:ext>
            </a:extLst>
          </p:cNvPr>
          <p:cNvSpPr>
            <a:spLocks noGrp="1"/>
          </p:cNvSpPr>
          <p:nvPr>
            <p:ph type="ftr" sz="quarter" idx="11"/>
          </p:nvPr>
        </p:nvSpPr>
        <p:spPr>
          <a:xfrm>
            <a:off x="403860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tint val="75000"/>
                  </a:prstClr>
                </a:solidFill>
                <a:effectLst/>
                <a:uLnTx/>
                <a:uFillTx/>
                <a:latin typeface="Lato Light"/>
                <a:ea typeface="+mn-ea"/>
                <a:cs typeface="+mn-cs"/>
              </a:rPr>
              <a:t>www.upskilpro.com</a:t>
            </a:r>
          </a:p>
        </p:txBody>
      </p:sp>
      <p:sp>
        <p:nvSpPr>
          <p:cNvPr id="4" name="TextBox 3">
            <a:extLst>
              <a:ext uri="{FF2B5EF4-FFF2-40B4-BE49-F238E27FC236}">
                <a16:creationId xmlns:a16="http://schemas.microsoft.com/office/drawing/2014/main" id="{13617872-A33F-BEE8-36AF-6162B63E6BD9}"/>
              </a:ext>
            </a:extLst>
          </p:cNvPr>
          <p:cNvSpPr txBox="1"/>
          <p:nvPr/>
        </p:nvSpPr>
        <p:spPr>
          <a:xfrm>
            <a:off x="97774" y="54694"/>
            <a:ext cx="6413314" cy="805092"/>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  </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Lato Light" panose="020F0502020204030203" pitchFamily="34" charset="0"/>
                <a:cs typeface="Poppins" panose="00000500000000000000" pitchFamily="2" charset="0"/>
              </a:rPr>
              <a:t>Planning Exercise – SWOT Execution</a:t>
            </a:r>
          </a:p>
        </p:txBody>
      </p:sp>
      <p:graphicFrame>
        <p:nvGraphicFramePr>
          <p:cNvPr id="7" name="Table 2">
            <a:extLst>
              <a:ext uri="{FF2B5EF4-FFF2-40B4-BE49-F238E27FC236}">
                <a16:creationId xmlns:a16="http://schemas.microsoft.com/office/drawing/2014/main" id="{59FE2F62-2F5A-A6B8-8A26-EF2CB9564C4B}"/>
              </a:ext>
            </a:extLst>
          </p:cNvPr>
          <p:cNvGraphicFramePr>
            <a:graphicFrameLocks noGrp="1"/>
          </p:cNvGraphicFramePr>
          <p:nvPr/>
        </p:nvGraphicFramePr>
        <p:xfrm>
          <a:off x="6096000" y="1250265"/>
          <a:ext cx="4522950" cy="2503920"/>
        </p:xfrm>
        <a:graphic>
          <a:graphicData uri="http://schemas.openxmlformats.org/drawingml/2006/table">
            <a:tbl>
              <a:tblPr firstRow="1" bandRow="1">
                <a:tableStyleId>{073A0DAA-6AF3-43AB-8588-CEC1D06C72B9}</a:tableStyleId>
              </a:tblPr>
              <a:tblGrid>
                <a:gridCol w="742950">
                  <a:extLst>
                    <a:ext uri="{9D8B030D-6E8A-4147-A177-3AD203B41FA5}">
                      <a16:colId xmlns:a16="http://schemas.microsoft.com/office/drawing/2014/main" val="61844024"/>
                    </a:ext>
                  </a:extLst>
                </a:gridCol>
                <a:gridCol w="756000">
                  <a:extLst>
                    <a:ext uri="{9D8B030D-6E8A-4147-A177-3AD203B41FA5}">
                      <a16:colId xmlns:a16="http://schemas.microsoft.com/office/drawing/2014/main" val="3513857102"/>
                    </a:ext>
                  </a:extLst>
                </a:gridCol>
                <a:gridCol w="756000">
                  <a:extLst>
                    <a:ext uri="{9D8B030D-6E8A-4147-A177-3AD203B41FA5}">
                      <a16:colId xmlns:a16="http://schemas.microsoft.com/office/drawing/2014/main" val="1445534512"/>
                    </a:ext>
                  </a:extLst>
                </a:gridCol>
                <a:gridCol w="756000">
                  <a:extLst>
                    <a:ext uri="{9D8B030D-6E8A-4147-A177-3AD203B41FA5}">
                      <a16:colId xmlns:a16="http://schemas.microsoft.com/office/drawing/2014/main" val="414876873"/>
                    </a:ext>
                  </a:extLst>
                </a:gridCol>
                <a:gridCol w="756000">
                  <a:extLst>
                    <a:ext uri="{9D8B030D-6E8A-4147-A177-3AD203B41FA5}">
                      <a16:colId xmlns:a16="http://schemas.microsoft.com/office/drawing/2014/main" val="1717331697"/>
                    </a:ext>
                  </a:extLst>
                </a:gridCol>
                <a:gridCol w="756000">
                  <a:extLst>
                    <a:ext uri="{9D8B030D-6E8A-4147-A177-3AD203B41FA5}">
                      <a16:colId xmlns:a16="http://schemas.microsoft.com/office/drawing/2014/main" val="1778521686"/>
                    </a:ext>
                  </a:extLst>
                </a:gridCol>
              </a:tblGrid>
              <a:tr h="274320">
                <a:tc gridSpan="6">
                  <a:txBody>
                    <a:bodyPr/>
                    <a:lstStyle/>
                    <a:p>
                      <a:pPr algn="ctr"/>
                      <a:r>
                        <a:rPr lang="en-GB" sz="1000" dirty="0"/>
                        <a:t>D – Strength Weakness Analysis  Impact </a:t>
                      </a:r>
                    </a:p>
                  </a:txBody>
                  <a:tcPr anchor="ctr">
                    <a:solidFill>
                      <a:srgbClr val="3984A3"/>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r>
                        <a:rPr lang="en-GB" sz="1000" dirty="0"/>
                        <a:t>Impact </a:t>
                      </a:r>
                    </a:p>
                  </a:txBody>
                  <a:tcPr anchor="ctr">
                    <a:solidFill>
                      <a:srgbClr val="3984A3"/>
                    </a:solidFill>
                  </a:tcPr>
                </a:tc>
                <a:tc hMerge="1">
                  <a:txBody>
                    <a:bodyPr/>
                    <a:lstStyle/>
                    <a:p>
                      <a:endParaRPr lang="en-GB"/>
                    </a:p>
                  </a:txBody>
                  <a:tcPr/>
                </a:tc>
                <a:extLst>
                  <a:ext uri="{0D108BD9-81ED-4DB2-BD59-A6C34878D82A}">
                    <a16:rowId xmlns:a16="http://schemas.microsoft.com/office/drawing/2014/main" val="176342530"/>
                  </a:ext>
                </a:extLst>
              </a:tr>
              <a:tr h="274320">
                <a:tc>
                  <a:txBody>
                    <a:bodyPr/>
                    <a:lstStyle/>
                    <a:p>
                      <a:pPr algn="ctr"/>
                      <a:r>
                        <a:rPr lang="en-GB" sz="900" b="1" dirty="0">
                          <a:solidFill>
                            <a:schemeClr val="bg1"/>
                          </a:solidFill>
                        </a:rPr>
                        <a:t>CSF</a:t>
                      </a:r>
                    </a:p>
                  </a:txBody>
                  <a:tcPr anchor="ctr">
                    <a:solidFill>
                      <a:srgbClr val="3984A3"/>
                    </a:solidFill>
                  </a:tcPr>
                </a:tc>
                <a:tc>
                  <a:txBody>
                    <a:bodyPr/>
                    <a:lstStyle/>
                    <a:p>
                      <a:pPr algn="ctr"/>
                      <a:r>
                        <a:rPr lang="en-GB" sz="900" b="1" dirty="0">
                          <a:solidFill>
                            <a:schemeClr val="bg1"/>
                          </a:solidFill>
                        </a:rPr>
                        <a:t>We</a:t>
                      </a:r>
                    </a:p>
                  </a:txBody>
                  <a:tcPr anchor="ctr">
                    <a:solidFill>
                      <a:srgbClr val="3984A3"/>
                    </a:solidFill>
                  </a:tcPr>
                </a:tc>
                <a:tc>
                  <a:txBody>
                    <a:bodyPr/>
                    <a:lstStyle/>
                    <a:p>
                      <a:pPr algn="ctr"/>
                      <a:r>
                        <a:rPr lang="en-GB" sz="900" b="1" dirty="0">
                          <a:solidFill>
                            <a:schemeClr val="bg1"/>
                          </a:solidFill>
                        </a:rPr>
                        <a:t>Comp A</a:t>
                      </a:r>
                    </a:p>
                  </a:txBody>
                  <a:tcPr anchor="ctr">
                    <a:solidFill>
                      <a:srgbClr val="3984A3"/>
                    </a:solidFill>
                  </a:tcPr>
                </a:tc>
                <a:tc>
                  <a:txBody>
                    <a:bodyPr/>
                    <a:lstStyle/>
                    <a:p>
                      <a:pPr algn="ctr"/>
                      <a:r>
                        <a:rPr lang="en-GB" sz="900" b="1" dirty="0">
                          <a:solidFill>
                            <a:schemeClr val="bg1"/>
                          </a:solidFill>
                        </a:rPr>
                        <a:t>Comp B</a:t>
                      </a:r>
                    </a:p>
                  </a:txBody>
                  <a:tcPr anchor="ctr">
                    <a:solidFill>
                      <a:srgbClr val="3984A3"/>
                    </a:solidFill>
                  </a:tcPr>
                </a:tc>
                <a:tc>
                  <a:txBody>
                    <a:bodyPr/>
                    <a:lstStyle/>
                    <a:p>
                      <a:pPr algn="ctr"/>
                      <a:r>
                        <a:rPr lang="en-GB" sz="900" b="1" dirty="0">
                          <a:solidFill>
                            <a:schemeClr val="bg1"/>
                          </a:solidFill>
                        </a:rPr>
                        <a:t>Comp C</a:t>
                      </a:r>
                    </a:p>
                  </a:txBody>
                  <a:tcPr anchor="ctr">
                    <a:solidFill>
                      <a:srgbClr val="3984A3"/>
                    </a:solidFill>
                  </a:tcPr>
                </a:tc>
                <a:tc>
                  <a:txBody>
                    <a:bodyPr/>
                    <a:lstStyle/>
                    <a:p>
                      <a:pPr algn="ctr"/>
                      <a:r>
                        <a:rPr lang="en-GB" sz="900" b="1" dirty="0">
                          <a:solidFill>
                            <a:schemeClr val="bg1"/>
                          </a:solidFill>
                        </a:rPr>
                        <a:t>Comp D</a:t>
                      </a:r>
                    </a:p>
                  </a:txBody>
                  <a:tcPr anchor="ctr">
                    <a:solidFill>
                      <a:srgbClr val="3984A3"/>
                    </a:solidFill>
                  </a:tcPr>
                </a:tc>
                <a:extLst>
                  <a:ext uri="{0D108BD9-81ED-4DB2-BD59-A6C34878D82A}">
                    <a16:rowId xmlns:a16="http://schemas.microsoft.com/office/drawing/2014/main" val="4271956241"/>
                  </a:ext>
                </a:extLst>
              </a:tr>
              <a:tr h="324000">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2570600651"/>
                  </a:ext>
                </a:extLst>
              </a:tr>
              <a:tr h="324000">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3794839205"/>
                  </a:ext>
                </a:extLst>
              </a:tr>
              <a:tr h="324000">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212223091"/>
                  </a:ext>
                </a:extLst>
              </a:tr>
              <a:tr h="324000">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502150127"/>
                  </a:ext>
                </a:extLst>
              </a:tr>
              <a:tr h="324000">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3819698324"/>
                  </a:ext>
                </a:extLst>
              </a:tr>
              <a:tr h="324000">
                <a:tc gridSpan="6">
                  <a:txBody>
                    <a:bodyPr/>
                    <a:lstStyle/>
                    <a:p>
                      <a:pPr marL="228600" indent="-228600">
                        <a:buFont typeface="Arial" panose="020B0604020202020204" pitchFamily="34" charset="0"/>
                        <a:buChar char="•"/>
                      </a:pPr>
                      <a:r>
                        <a:rPr lang="en-GB" sz="800" dirty="0">
                          <a:latin typeface="Lato Light" panose="020F0502020204030203" pitchFamily="34" charset="0"/>
                          <a:ea typeface="Lato Light" panose="020F0502020204030203" pitchFamily="34" charset="0"/>
                          <a:cs typeface="Lato Light" panose="020F0502020204030203" pitchFamily="34" charset="0"/>
                        </a:rPr>
                        <a:t>In this case how its about how your customers would rate you and the other competitors in each of the CSF’s , you will multiply the score by the weight.</a:t>
                      </a:r>
                    </a:p>
                  </a:txBody>
                  <a:tcPr>
                    <a:solidFill>
                      <a:schemeClr val="accent4">
                        <a:lumMod val="40000"/>
                        <a:lumOff val="60000"/>
                      </a:schemeClr>
                    </a:solidFill>
                  </a:tcPr>
                </a:tc>
                <a:tc hMerge="1">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hMerge="1">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hMerge="1">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hMerge="1">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hMerge="1">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4120500651"/>
                  </a:ext>
                </a:extLst>
              </a:tr>
            </a:tbl>
          </a:graphicData>
        </a:graphic>
      </p:graphicFrame>
      <p:graphicFrame>
        <p:nvGraphicFramePr>
          <p:cNvPr id="8" name="Table 2">
            <a:extLst>
              <a:ext uri="{FF2B5EF4-FFF2-40B4-BE49-F238E27FC236}">
                <a16:creationId xmlns:a16="http://schemas.microsoft.com/office/drawing/2014/main" id="{42C99DAB-C4DD-3947-87DF-43B204EDCF21}"/>
              </a:ext>
            </a:extLst>
          </p:cNvPr>
          <p:cNvGraphicFramePr>
            <a:graphicFrameLocks noGrp="1"/>
          </p:cNvGraphicFramePr>
          <p:nvPr/>
        </p:nvGraphicFramePr>
        <p:xfrm>
          <a:off x="2771411" y="1250265"/>
          <a:ext cx="2019300" cy="2168640"/>
        </p:xfrm>
        <a:graphic>
          <a:graphicData uri="http://schemas.openxmlformats.org/drawingml/2006/table">
            <a:tbl>
              <a:tblPr firstRow="1" bandRow="1">
                <a:tableStyleId>{073A0DAA-6AF3-43AB-8588-CEC1D06C72B9}</a:tableStyleId>
              </a:tblPr>
              <a:tblGrid>
                <a:gridCol w="2019300">
                  <a:extLst>
                    <a:ext uri="{9D8B030D-6E8A-4147-A177-3AD203B41FA5}">
                      <a16:colId xmlns:a16="http://schemas.microsoft.com/office/drawing/2014/main" val="1717331697"/>
                    </a:ext>
                  </a:extLst>
                </a:gridCol>
              </a:tblGrid>
              <a:tr h="432000">
                <a:tc>
                  <a:txBody>
                    <a:bodyPr/>
                    <a:lstStyle/>
                    <a:p>
                      <a:pPr algn="ctr"/>
                      <a:r>
                        <a:rPr lang="en-GB" sz="1000" dirty="0"/>
                        <a:t>B – Critical Success Factors  ( CSF)  Relate this to how your customers choose </a:t>
                      </a:r>
                    </a:p>
                  </a:txBody>
                  <a:tcPr marL="45720" marR="45720" anchor="ctr">
                    <a:solidFill>
                      <a:srgbClr val="3984A3"/>
                    </a:solidFill>
                  </a:tcPr>
                </a:tc>
                <a:extLst>
                  <a:ext uri="{0D108BD9-81ED-4DB2-BD59-A6C34878D82A}">
                    <a16:rowId xmlns:a16="http://schemas.microsoft.com/office/drawing/2014/main" val="176342530"/>
                  </a:ext>
                </a:extLst>
              </a:tr>
              <a:tr h="324000">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2570600651"/>
                  </a:ext>
                </a:extLst>
              </a:tr>
              <a:tr h="324000">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3794839205"/>
                  </a:ext>
                </a:extLst>
              </a:tr>
              <a:tr h="324000">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212223091"/>
                  </a:ext>
                </a:extLst>
              </a:tr>
              <a:tr h="324000">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502150127"/>
                  </a:ext>
                </a:extLst>
              </a:tr>
              <a:tr h="324000">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3819698324"/>
                  </a:ext>
                </a:extLst>
              </a:tr>
            </a:tbl>
          </a:graphicData>
        </a:graphic>
      </p:graphicFrame>
      <p:graphicFrame>
        <p:nvGraphicFramePr>
          <p:cNvPr id="9" name="Table 2">
            <a:extLst>
              <a:ext uri="{FF2B5EF4-FFF2-40B4-BE49-F238E27FC236}">
                <a16:creationId xmlns:a16="http://schemas.microsoft.com/office/drawing/2014/main" id="{73A24E48-D371-D722-3809-2FC5D10910A8}"/>
              </a:ext>
            </a:extLst>
          </p:cNvPr>
          <p:cNvGraphicFramePr>
            <a:graphicFrameLocks noGrp="1"/>
          </p:cNvGraphicFramePr>
          <p:nvPr/>
        </p:nvGraphicFramePr>
        <p:xfrm>
          <a:off x="620448" y="1250265"/>
          <a:ext cx="2019300" cy="2168640"/>
        </p:xfrm>
        <a:graphic>
          <a:graphicData uri="http://schemas.openxmlformats.org/drawingml/2006/table">
            <a:tbl>
              <a:tblPr firstRow="1" bandRow="1">
                <a:tableStyleId>{073A0DAA-6AF3-43AB-8588-CEC1D06C72B9}</a:tableStyleId>
              </a:tblPr>
              <a:tblGrid>
                <a:gridCol w="2019300">
                  <a:extLst>
                    <a:ext uri="{9D8B030D-6E8A-4147-A177-3AD203B41FA5}">
                      <a16:colId xmlns:a16="http://schemas.microsoft.com/office/drawing/2014/main" val="1717331697"/>
                    </a:ext>
                  </a:extLst>
                </a:gridCol>
              </a:tblGrid>
              <a:tr h="432000">
                <a:tc>
                  <a:txBody>
                    <a:bodyPr/>
                    <a:lstStyle/>
                    <a:p>
                      <a:pPr algn="ctr"/>
                      <a:r>
                        <a:rPr lang="en-GB" sz="1000" dirty="0"/>
                        <a:t>A – Segment Description Keep this to a specific area of the organisation and high importance </a:t>
                      </a:r>
                    </a:p>
                  </a:txBody>
                  <a:tcPr marL="45720" marR="45720" anchor="ctr">
                    <a:solidFill>
                      <a:srgbClr val="3984A3"/>
                    </a:solidFill>
                  </a:tcPr>
                </a:tc>
                <a:extLst>
                  <a:ext uri="{0D108BD9-81ED-4DB2-BD59-A6C34878D82A}">
                    <a16:rowId xmlns:a16="http://schemas.microsoft.com/office/drawing/2014/main" val="176342530"/>
                  </a:ext>
                </a:extLst>
              </a:tr>
              <a:tr h="1620000">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2570600651"/>
                  </a:ext>
                </a:extLst>
              </a:tr>
            </a:tbl>
          </a:graphicData>
        </a:graphic>
      </p:graphicFrame>
      <p:graphicFrame>
        <p:nvGraphicFramePr>
          <p:cNvPr id="11" name="Table 2">
            <a:extLst>
              <a:ext uri="{FF2B5EF4-FFF2-40B4-BE49-F238E27FC236}">
                <a16:creationId xmlns:a16="http://schemas.microsoft.com/office/drawing/2014/main" id="{22ED98A4-83EE-B577-64FB-5CAE320A4CF2}"/>
              </a:ext>
            </a:extLst>
          </p:cNvPr>
          <p:cNvGraphicFramePr>
            <a:graphicFrameLocks noGrp="1"/>
          </p:cNvGraphicFramePr>
          <p:nvPr/>
        </p:nvGraphicFramePr>
        <p:xfrm>
          <a:off x="697050" y="3848760"/>
          <a:ext cx="3084011" cy="2063280"/>
        </p:xfrm>
        <a:graphic>
          <a:graphicData uri="http://schemas.openxmlformats.org/drawingml/2006/table">
            <a:tbl>
              <a:tblPr firstRow="1" bandRow="1">
                <a:tableStyleId>{073A0DAA-6AF3-43AB-8588-CEC1D06C72B9}</a:tableStyleId>
              </a:tblPr>
              <a:tblGrid>
                <a:gridCol w="664661">
                  <a:extLst>
                    <a:ext uri="{9D8B030D-6E8A-4147-A177-3AD203B41FA5}">
                      <a16:colId xmlns:a16="http://schemas.microsoft.com/office/drawing/2014/main" val="61844024"/>
                    </a:ext>
                  </a:extLst>
                </a:gridCol>
                <a:gridCol w="2419350">
                  <a:extLst>
                    <a:ext uri="{9D8B030D-6E8A-4147-A177-3AD203B41FA5}">
                      <a16:colId xmlns:a16="http://schemas.microsoft.com/office/drawing/2014/main" val="1717331697"/>
                    </a:ext>
                  </a:extLst>
                </a:gridCol>
              </a:tblGrid>
              <a:tr h="432000">
                <a:tc gridSpan="2">
                  <a:txBody>
                    <a:bodyPr/>
                    <a:lstStyle/>
                    <a:p>
                      <a:pPr algn="ctr"/>
                      <a:r>
                        <a:rPr lang="en-GB" sz="1000" dirty="0"/>
                        <a:t>Opportunities / Threats</a:t>
                      </a:r>
                    </a:p>
                  </a:txBody>
                  <a:tcPr anchor="ctr">
                    <a:solidFill>
                      <a:srgbClr val="3984A3"/>
                    </a:solidFill>
                  </a:tcPr>
                </a:tc>
                <a:tc hMerge="1">
                  <a:txBody>
                    <a:bodyPr/>
                    <a:lstStyle/>
                    <a:p>
                      <a:pPr algn="ctr"/>
                      <a:r>
                        <a:rPr lang="en-GB" dirty="0"/>
                        <a:t>Impact </a:t>
                      </a:r>
                    </a:p>
                  </a:txBody>
                  <a:tcPr anchor="ctr">
                    <a:solidFill>
                      <a:srgbClr val="3984A3"/>
                    </a:solidFill>
                  </a:tcPr>
                </a:tc>
                <a:extLst>
                  <a:ext uri="{0D108BD9-81ED-4DB2-BD59-A6C34878D82A}">
                    <a16:rowId xmlns:a16="http://schemas.microsoft.com/office/drawing/2014/main" val="176342530"/>
                  </a:ext>
                </a:extLst>
              </a:tr>
              <a:tr h="324000">
                <a:tc>
                  <a:txBody>
                    <a:bodyPr/>
                    <a:lstStyle/>
                    <a:p>
                      <a:pPr marL="171450" indent="-171450">
                        <a:buFont typeface="Arial" panose="020B0604020202020204" pitchFamily="34" charset="0"/>
                        <a:buChar char="•"/>
                      </a:pPr>
                      <a:r>
                        <a:rPr lang="en-GB" sz="1200" dirty="0">
                          <a:latin typeface="Lato Light" panose="020F0502020204030203" pitchFamily="34" charset="0"/>
                          <a:ea typeface="Lato Light" panose="020F0502020204030203" pitchFamily="34" charset="0"/>
                          <a:cs typeface="Lato Light" panose="020F0502020204030203" pitchFamily="34" charset="0"/>
                        </a:rPr>
                        <a:t> A</a:t>
                      </a: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2570600651"/>
                  </a:ext>
                </a:extLst>
              </a:tr>
              <a:tr h="324000">
                <a:tc>
                  <a:txBody>
                    <a:bodyPr/>
                    <a:lstStyle/>
                    <a:p>
                      <a:pPr marL="171450" indent="-171450">
                        <a:buFont typeface="Arial" panose="020B0604020202020204" pitchFamily="34" charset="0"/>
                        <a:buChar char="•"/>
                      </a:pPr>
                      <a:r>
                        <a:rPr lang="en-GB" sz="1200" dirty="0">
                          <a:latin typeface="Lato Light" panose="020F0502020204030203" pitchFamily="34" charset="0"/>
                          <a:ea typeface="Lato Light" panose="020F0502020204030203" pitchFamily="34" charset="0"/>
                          <a:cs typeface="Lato Light" panose="020F0502020204030203" pitchFamily="34" charset="0"/>
                        </a:rPr>
                        <a:t>B</a:t>
                      </a: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3794839205"/>
                  </a:ext>
                </a:extLst>
              </a:tr>
              <a:tr h="324000">
                <a:tc>
                  <a:txBody>
                    <a:bodyPr/>
                    <a:lstStyle/>
                    <a:p>
                      <a:pPr marL="171450" indent="-171450">
                        <a:buFont typeface="Arial" panose="020B0604020202020204" pitchFamily="34" charset="0"/>
                        <a:buChar char="•"/>
                      </a:pPr>
                      <a:r>
                        <a:rPr lang="en-GB" sz="1200" dirty="0">
                          <a:latin typeface="Lato Light" panose="020F0502020204030203" pitchFamily="34" charset="0"/>
                          <a:ea typeface="Lato Light" panose="020F0502020204030203" pitchFamily="34" charset="0"/>
                          <a:cs typeface="Lato Light" panose="020F0502020204030203" pitchFamily="34" charset="0"/>
                        </a:rPr>
                        <a:t>C</a:t>
                      </a: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212223091"/>
                  </a:ext>
                </a:extLst>
              </a:tr>
              <a:tr h="324000">
                <a:tc>
                  <a:txBody>
                    <a:bodyPr/>
                    <a:lstStyle/>
                    <a:p>
                      <a:pPr marL="171450" indent="-171450">
                        <a:buFont typeface="Arial" panose="020B0604020202020204" pitchFamily="34" charset="0"/>
                        <a:buChar char="•"/>
                      </a:pPr>
                      <a:r>
                        <a:rPr lang="en-GB" sz="1200" dirty="0">
                          <a:latin typeface="Lato Light" panose="020F0502020204030203" pitchFamily="34" charset="0"/>
                          <a:ea typeface="Lato Light" panose="020F0502020204030203" pitchFamily="34" charset="0"/>
                          <a:cs typeface="Lato Light" panose="020F0502020204030203" pitchFamily="34" charset="0"/>
                        </a:rPr>
                        <a:t>D</a:t>
                      </a: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502150127"/>
                  </a:ext>
                </a:extLst>
              </a:tr>
              <a:tr h="324000">
                <a:tc gridSpan="2">
                  <a:txBody>
                    <a:bodyPr/>
                    <a:lstStyle/>
                    <a:p>
                      <a:pPr marL="0" indent="0">
                        <a:buFont typeface="Arial" panose="020B0604020202020204" pitchFamily="34" charset="0"/>
                        <a:buNone/>
                      </a:pPr>
                      <a:r>
                        <a:rPr lang="en-GB" sz="800" dirty="0">
                          <a:latin typeface="Lato Light" panose="020F0502020204030203" pitchFamily="34" charset="0"/>
                          <a:ea typeface="Lato Light" panose="020F0502020204030203" pitchFamily="34" charset="0"/>
                          <a:cs typeface="Lato Light" panose="020F0502020204030203" pitchFamily="34" charset="0"/>
                        </a:rPr>
                        <a:t>Aim to crystalize on a few areas which will have effect on your business , please keep this strategic and  top level.</a:t>
                      </a:r>
                    </a:p>
                  </a:txBody>
                  <a:tcPr>
                    <a:solidFill>
                      <a:schemeClr val="accent4">
                        <a:lumMod val="40000"/>
                        <a:lumOff val="60000"/>
                      </a:schemeClr>
                    </a:solidFill>
                  </a:tcPr>
                </a:tc>
                <a:tc hMerge="1">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3819698324"/>
                  </a:ext>
                </a:extLst>
              </a:tr>
            </a:tbl>
          </a:graphicData>
        </a:graphic>
      </p:graphicFrame>
      <p:graphicFrame>
        <p:nvGraphicFramePr>
          <p:cNvPr id="12" name="Table 2">
            <a:extLst>
              <a:ext uri="{FF2B5EF4-FFF2-40B4-BE49-F238E27FC236}">
                <a16:creationId xmlns:a16="http://schemas.microsoft.com/office/drawing/2014/main" id="{940FB64E-23B0-3132-E964-42D757693DAE}"/>
              </a:ext>
            </a:extLst>
          </p:cNvPr>
          <p:cNvGraphicFramePr>
            <a:graphicFrameLocks noGrp="1"/>
          </p:cNvGraphicFramePr>
          <p:nvPr/>
        </p:nvGraphicFramePr>
        <p:xfrm>
          <a:off x="4810492" y="1250265"/>
          <a:ext cx="1097426" cy="2160000"/>
        </p:xfrm>
        <a:graphic>
          <a:graphicData uri="http://schemas.openxmlformats.org/drawingml/2006/table">
            <a:tbl>
              <a:tblPr firstRow="1" bandRow="1">
                <a:tableStyleId>{073A0DAA-6AF3-43AB-8588-CEC1D06C72B9}</a:tableStyleId>
              </a:tblPr>
              <a:tblGrid>
                <a:gridCol w="1097426">
                  <a:extLst>
                    <a:ext uri="{9D8B030D-6E8A-4147-A177-3AD203B41FA5}">
                      <a16:colId xmlns:a16="http://schemas.microsoft.com/office/drawing/2014/main" val="1717331697"/>
                    </a:ext>
                  </a:extLst>
                </a:gridCol>
              </a:tblGrid>
              <a:tr h="540000">
                <a:tc>
                  <a:txBody>
                    <a:bodyPr/>
                    <a:lstStyle/>
                    <a:p>
                      <a:pPr algn="ctr"/>
                      <a:r>
                        <a:rPr lang="en-GB" sz="1000" dirty="0"/>
                        <a:t>C – Weighting </a:t>
                      </a:r>
                      <a:r>
                        <a:rPr lang="en-GB" sz="700" dirty="0"/>
                        <a:t>weight each factor in importance totalling 100 </a:t>
                      </a:r>
                    </a:p>
                  </a:txBody>
                  <a:tcPr marL="45720" marR="45720" anchor="ctr">
                    <a:solidFill>
                      <a:srgbClr val="3984A3"/>
                    </a:solidFill>
                  </a:tcPr>
                </a:tc>
                <a:extLst>
                  <a:ext uri="{0D108BD9-81ED-4DB2-BD59-A6C34878D82A}">
                    <a16:rowId xmlns:a16="http://schemas.microsoft.com/office/drawing/2014/main" val="176342530"/>
                  </a:ext>
                </a:extLst>
              </a:tr>
              <a:tr h="324000">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2570600651"/>
                  </a:ext>
                </a:extLst>
              </a:tr>
              <a:tr h="324000">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3794839205"/>
                  </a:ext>
                </a:extLst>
              </a:tr>
              <a:tr h="324000">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212223091"/>
                  </a:ext>
                </a:extLst>
              </a:tr>
              <a:tr h="324000">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502150127"/>
                  </a:ext>
                </a:extLst>
              </a:tr>
              <a:tr h="324000">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3819698324"/>
                  </a:ext>
                </a:extLst>
              </a:tr>
            </a:tbl>
          </a:graphicData>
        </a:graphic>
      </p:graphicFrame>
      <p:graphicFrame>
        <p:nvGraphicFramePr>
          <p:cNvPr id="13" name="Table 2">
            <a:extLst>
              <a:ext uri="{FF2B5EF4-FFF2-40B4-BE49-F238E27FC236}">
                <a16:creationId xmlns:a16="http://schemas.microsoft.com/office/drawing/2014/main" id="{8F3D71B7-B7C2-781C-E2B5-86B99A64D887}"/>
              </a:ext>
            </a:extLst>
          </p:cNvPr>
          <p:cNvGraphicFramePr>
            <a:graphicFrameLocks noGrp="1"/>
          </p:cNvGraphicFramePr>
          <p:nvPr/>
        </p:nvGraphicFramePr>
        <p:xfrm>
          <a:off x="4038600" y="3857307"/>
          <a:ext cx="3084011" cy="2063280"/>
        </p:xfrm>
        <a:graphic>
          <a:graphicData uri="http://schemas.openxmlformats.org/drawingml/2006/table">
            <a:tbl>
              <a:tblPr firstRow="1" bandRow="1">
                <a:tableStyleId>{073A0DAA-6AF3-43AB-8588-CEC1D06C72B9}</a:tableStyleId>
              </a:tblPr>
              <a:tblGrid>
                <a:gridCol w="664661">
                  <a:extLst>
                    <a:ext uri="{9D8B030D-6E8A-4147-A177-3AD203B41FA5}">
                      <a16:colId xmlns:a16="http://schemas.microsoft.com/office/drawing/2014/main" val="61844024"/>
                    </a:ext>
                  </a:extLst>
                </a:gridCol>
                <a:gridCol w="2419350">
                  <a:extLst>
                    <a:ext uri="{9D8B030D-6E8A-4147-A177-3AD203B41FA5}">
                      <a16:colId xmlns:a16="http://schemas.microsoft.com/office/drawing/2014/main" val="1717331697"/>
                    </a:ext>
                  </a:extLst>
                </a:gridCol>
              </a:tblGrid>
              <a:tr h="432000">
                <a:tc gridSpan="2">
                  <a:txBody>
                    <a:bodyPr/>
                    <a:lstStyle/>
                    <a:p>
                      <a:pPr algn="ctr"/>
                      <a:r>
                        <a:rPr lang="en-GB" sz="1000" dirty="0"/>
                        <a:t>Threats </a:t>
                      </a:r>
                    </a:p>
                  </a:txBody>
                  <a:tcPr anchor="ctr">
                    <a:solidFill>
                      <a:srgbClr val="3984A3"/>
                    </a:solidFill>
                  </a:tcPr>
                </a:tc>
                <a:tc hMerge="1">
                  <a:txBody>
                    <a:bodyPr/>
                    <a:lstStyle/>
                    <a:p>
                      <a:pPr algn="ctr"/>
                      <a:r>
                        <a:rPr lang="en-GB" dirty="0"/>
                        <a:t>Impact </a:t>
                      </a:r>
                    </a:p>
                  </a:txBody>
                  <a:tcPr anchor="ctr">
                    <a:solidFill>
                      <a:srgbClr val="3984A3"/>
                    </a:solidFill>
                  </a:tcPr>
                </a:tc>
                <a:extLst>
                  <a:ext uri="{0D108BD9-81ED-4DB2-BD59-A6C34878D82A}">
                    <a16:rowId xmlns:a16="http://schemas.microsoft.com/office/drawing/2014/main" val="176342530"/>
                  </a:ext>
                </a:extLst>
              </a:tr>
              <a:tr h="324000">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2570600651"/>
                  </a:ext>
                </a:extLst>
              </a:tr>
              <a:tr h="324000">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3794839205"/>
                  </a:ext>
                </a:extLst>
              </a:tr>
              <a:tr h="324000">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212223091"/>
                  </a:ext>
                </a:extLst>
              </a:tr>
              <a:tr h="324000">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502150127"/>
                  </a:ext>
                </a:extLst>
              </a:tr>
              <a:tr h="324000">
                <a:tc gridSpan="2">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dirty="0">
                          <a:latin typeface="Lato Light" panose="020F0502020204030203" pitchFamily="34" charset="0"/>
                          <a:ea typeface="Lato Light" panose="020F0502020204030203" pitchFamily="34" charset="0"/>
                          <a:cs typeface="Lato Light" panose="020F0502020204030203" pitchFamily="34" charset="0"/>
                        </a:rPr>
                        <a:t>Aim to crystalize on a few areas which will have effect on your business , please keep this strategic and  top level.</a:t>
                      </a:r>
                      <a:endParaRPr lang="en-GB" sz="900" dirty="0">
                        <a:latin typeface="Lato Light" panose="020F0502020204030203" pitchFamily="34" charset="0"/>
                        <a:ea typeface="Lato Light" panose="020F0502020204030203" pitchFamily="34" charset="0"/>
                        <a:cs typeface="Lato Light" panose="020F0502020204030203" pitchFamily="34" charset="0"/>
                      </a:endParaRPr>
                    </a:p>
                  </a:txBody>
                  <a:tcPr>
                    <a:solidFill>
                      <a:schemeClr val="accent4">
                        <a:lumMod val="40000"/>
                        <a:lumOff val="60000"/>
                      </a:schemeClr>
                    </a:solidFill>
                  </a:tcPr>
                </a:tc>
                <a:tc hMerge="1">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3819698324"/>
                  </a:ext>
                </a:extLst>
              </a:tr>
            </a:tbl>
          </a:graphicData>
        </a:graphic>
      </p:graphicFrame>
      <p:graphicFrame>
        <p:nvGraphicFramePr>
          <p:cNvPr id="14" name="Table 2">
            <a:extLst>
              <a:ext uri="{FF2B5EF4-FFF2-40B4-BE49-F238E27FC236}">
                <a16:creationId xmlns:a16="http://schemas.microsoft.com/office/drawing/2014/main" id="{957EB46A-03B2-911D-6B8F-1EE927C32A95}"/>
              </a:ext>
            </a:extLst>
          </p:cNvPr>
          <p:cNvGraphicFramePr>
            <a:graphicFrameLocks noGrp="1"/>
          </p:cNvGraphicFramePr>
          <p:nvPr/>
        </p:nvGraphicFramePr>
        <p:xfrm>
          <a:off x="7430962" y="3848760"/>
          <a:ext cx="3084011" cy="2063280"/>
        </p:xfrm>
        <a:graphic>
          <a:graphicData uri="http://schemas.openxmlformats.org/drawingml/2006/table">
            <a:tbl>
              <a:tblPr firstRow="1" bandRow="1">
                <a:tableStyleId>{073A0DAA-6AF3-43AB-8588-CEC1D06C72B9}</a:tableStyleId>
              </a:tblPr>
              <a:tblGrid>
                <a:gridCol w="664661">
                  <a:extLst>
                    <a:ext uri="{9D8B030D-6E8A-4147-A177-3AD203B41FA5}">
                      <a16:colId xmlns:a16="http://schemas.microsoft.com/office/drawing/2014/main" val="61844024"/>
                    </a:ext>
                  </a:extLst>
                </a:gridCol>
                <a:gridCol w="2419350">
                  <a:extLst>
                    <a:ext uri="{9D8B030D-6E8A-4147-A177-3AD203B41FA5}">
                      <a16:colId xmlns:a16="http://schemas.microsoft.com/office/drawing/2014/main" val="1717331697"/>
                    </a:ext>
                  </a:extLst>
                </a:gridCol>
              </a:tblGrid>
              <a:tr h="432000">
                <a:tc gridSpan="2">
                  <a:txBody>
                    <a:bodyPr/>
                    <a:lstStyle/>
                    <a:p>
                      <a:pPr algn="ctr"/>
                      <a:r>
                        <a:rPr lang="en-GB" sz="1000" dirty="0"/>
                        <a:t>Key unresolved issues </a:t>
                      </a:r>
                    </a:p>
                  </a:txBody>
                  <a:tcPr anchor="ctr">
                    <a:solidFill>
                      <a:srgbClr val="3984A3"/>
                    </a:solidFill>
                  </a:tcPr>
                </a:tc>
                <a:tc hMerge="1">
                  <a:txBody>
                    <a:bodyPr/>
                    <a:lstStyle/>
                    <a:p>
                      <a:pPr algn="ctr"/>
                      <a:r>
                        <a:rPr lang="en-GB" dirty="0"/>
                        <a:t>Impact </a:t>
                      </a:r>
                    </a:p>
                  </a:txBody>
                  <a:tcPr anchor="ctr">
                    <a:solidFill>
                      <a:srgbClr val="3984A3"/>
                    </a:solidFill>
                  </a:tcPr>
                </a:tc>
                <a:extLst>
                  <a:ext uri="{0D108BD9-81ED-4DB2-BD59-A6C34878D82A}">
                    <a16:rowId xmlns:a16="http://schemas.microsoft.com/office/drawing/2014/main" val="176342530"/>
                  </a:ext>
                </a:extLst>
              </a:tr>
              <a:tr h="324000">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2570600651"/>
                  </a:ext>
                </a:extLst>
              </a:tr>
              <a:tr h="324000">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3794839205"/>
                  </a:ext>
                </a:extLst>
              </a:tr>
              <a:tr h="324000">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212223091"/>
                  </a:ext>
                </a:extLst>
              </a:tr>
              <a:tr h="324000">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502150127"/>
                  </a:ext>
                </a:extLst>
              </a:tr>
              <a:tr h="324000">
                <a:tc gridSpan="2">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dirty="0">
                          <a:latin typeface="Lato Light" panose="020F0502020204030203" pitchFamily="34" charset="0"/>
                          <a:ea typeface="Lato Light" panose="020F0502020204030203" pitchFamily="34" charset="0"/>
                          <a:cs typeface="Lato Light" panose="020F0502020204030203" pitchFamily="34" charset="0"/>
                        </a:rPr>
                        <a:t>Aim to crystalize on a few areas which will have effect on your business , please keep this strategic and  top level.</a:t>
                      </a: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solidFill>
                      <a:schemeClr val="accent4">
                        <a:lumMod val="40000"/>
                        <a:lumOff val="60000"/>
                      </a:schemeClr>
                    </a:solidFill>
                  </a:tcPr>
                </a:tc>
                <a:tc hMerge="1">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3819698324"/>
                  </a:ext>
                </a:extLst>
              </a:tr>
            </a:tbl>
          </a:graphicData>
        </a:graphic>
      </p:graphicFrame>
      <p:sp>
        <p:nvSpPr>
          <p:cNvPr id="5" name="TextBox 4">
            <a:extLst>
              <a:ext uri="{FF2B5EF4-FFF2-40B4-BE49-F238E27FC236}">
                <a16:creationId xmlns:a16="http://schemas.microsoft.com/office/drawing/2014/main" id="{4C95EF34-EA03-973A-2527-81B504C5AE35}"/>
              </a:ext>
            </a:extLst>
          </p:cNvPr>
          <p:cNvSpPr txBox="1"/>
          <p:nvPr/>
        </p:nvSpPr>
        <p:spPr>
          <a:xfrm>
            <a:off x="9808633" y="965200"/>
            <a:ext cx="812800" cy="261610"/>
          </a:xfrm>
          <a:prstGeom prst="rect">
            <a:avLst/>
          </a:prstGeom>
          <a:solidFill>
            <a:srgbClr val="FF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white"/>
                </a:solidFill>
                <a:effectLst/>
                <a:uLnTx/>
                <a:uFillTx/>
                <a:latin typeface="Calibri" panose="020F0502020204030204"/>
                <a:ea typeface="+mn-ea"/>
                <a:cs typeface="+mn-cs"/>
              </a:rPr>
              <a:t>11001</a:t>
            </a:r>
          </a:p>
        </p:txBody>
      </p:sp>
    </p:spTree>
    <p:extLst>
      <p:ext uri="{BB962C8B-B14F-4D97-AF65-F5344CB8AC3E}">
        <p14:creationId xmlns:p14="http://schemas.microsoft.com/office/powerpoint/2010/main" val="215679905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374F001-FFD3-BC29-F928-2438D3530DC3}"/>
              </a:ext>
            </a:extLst>
          </p:cNvPr>
          <p:cNvSpPr txBox="1"/>
          <p:nvPr/>
        </p:nvSpPr>
        <p:spPr>
          <a:xfrm>
            <a:off x="3085536" y="2990944"/>
            <a:ext cx="5918826" cy="10772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Financial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P&amp;L</a:t>
            </a:r>
          </a:p>
        </p:txBody>
      </p:sp>
    </p:spTree>
    <p:extLst>
      <p:ext uri="{BB962C8B-B14F-4D97-AF65-F5344CB8AC3E}">
        <p14:creationId xmlns:p14="http://schemas.microsoft.com/office/powerpoint/2010/main" val="411355206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6DBC016-E64D-11B2-6E64-5300300A9CEA}"/>
              </a:ext>
            </a:extLst>
          </p:cNvPr>
          <p:cNvPicPr>
            <a:picLocks noChangeAspect="1"/>
          </p:cNvPicPr>
          <p:nvPr/>
        </p:nvPicPr>
        <p:blipFill>
          <a:blip r:embed="rId2"/>
          <a:stretch>
            <a:fillRect/>
          </a:stretch>
        </p:blipFill>
        <p:spPr>
          <a:xfrm>
            <a:off x="838116" y="849855"/>
            <a:ext cx="6169435" cy="5384302"/>
          </a:xfrm>
          <a:prstGeom prst="rect">
            <a:avLst/>
          </a:prstGeom>
        </p:spPr>
      </p:pic>
      <p:sp>
        <p:nvSpPr>
          <p:cNvPr id="3" name="TextBox 2">
            <a:extLst>
              <a:ext uri="{FF2B5EF4-FFF2-40B4-BE49-F238E27FC236}">
                <a16:creationId xmlns:a16="http://schemas.microsoft.com/office/drawing/2014/main" id="{DDC066DF-FEE5-80DB-7A71-6549D7DF699E}"/>
              </a:ext>
            </a:extLst>
          </p:cNvPr>
          <p:cNvSpPr txBox="1"/>
          <p:nvPr/>
        </p:nvSpPr>
        <p:spPr>
          <a:xfrm>
            <a:off x="116542" y="74495"/>
            <a:ext cx="10056158" cy="800219"/>
          </a:xfrm>
          <a:prstGeom prst="rect">
            <a:avLst/>
          </a:prstGeom>
          <a:solidFill>
            <a:schemeClr val="bg1"/>
          </a:solid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a:t>
            </a: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Financial Plan </a:t>
            </a:r>
          </a:p>
        </p:txBody>
      </p:sp>
      <p:pic>
        <p:nvPicPr>
          <p:cNvPr id="4" name="Picture 3" descr="Logo&#10;&#10;Description automatically generated">
            <a:extLst>
              <a:ext uri="{FF2B5EF4-FFF2-40B4-BE49-F238E27FC236}">
                <a16:creationId xmlns:a16="http://schemas.microsoft.com/office/drawing/2014/main" id="{9CB3E954-694A-F544-6E08-EE454FF0B75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5" name="Footer Placeholder 3">
            <a:extLst>
              <a:ext uri="{FF2B5EF4-FFF2-40B4-BE49-F238E27FC236}">
                <a16:creationId xmlns:a16="http://schemas.microsoft.com/office/drawing/2014/main" id="{66C8E758-9DDD-308C-48E8-282F4AA809F7}"/>
              </a:ext>
            </a:extLst>
          </p:cNvPr>
          <p:cNvSpPr>
            <a:spLocks noGrp="1"/>
          </p:cNvSpPr>
          <p:nvPr>
            <p:ph type="ftr" sz="quarter" idx="11"/>
          </p:nvPr>
        </p:nvSpPr>
        <p:spPr>
          <a:xfrm>
            <a:off x="403860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Lato Light"/>
                <a:ea typeface="+mn-ea"/>
                <a:cs typeface="+mn-cs"/>
              </a:rPr>
              <a:t>www.upskilpro.com</a:t>
            </a:r>
            <a:endParaRPr kumimoji="0" lang="en-GB" sz="1200" b="0" i="0" u="none" strike="noStrike" kern="1200" cap="none" spc="0" normalizeH="0" baseline="0" noProof="0" dirty="0">
              <a:ln>
                <a:noFill/>
              </a:ln>
              <a:solidFill>
                <a:prstClr val="black">
                  <a:tint val="75000"/>
                </a:prstClr>
              </a:solidFill>
              <a:effectLst/>
              <a:uLnTx/>
              <a:uFillTx/>
              <a:latin typeface="Lato Light"/>
              <a:ea typeface="+mn-ea"/>
              <a:cs typeface="+mn-cs"/>
            </a:endParaRPr>
          </a:p>
        </p:txBody>
      </p:sp>
      <p:sp>
        <p:nvSpPr>
          <p:cNvPr id="6" name="TextBox 5">
            <a:extLst>
              <a:ext uri="{FF2B5EF4-FFF2-40B4-BE49-F238E27FC236}">
                <a16:creationId xmlns:a16="http://schemas.microsoft.com/office/drawing/2014/main" id="{26F50A47-E8C6-84E2-1C0F-AFDC0EFE8718}"/>
              </a:ext>
            </a:extLst>
          </p:cNvPr>
          <p:cNvSpPr txBox="1"/>
          <p:nvPr/>
        </p:nvSpPr>
        <p:spPr>
          <a:xfrm>
            <a:off x="7231673" y="1982666"/>
            <a:ext cx="4435718" cy="3323987"/>
          </a:xfrm>
          <a:prstGeom prst="rect">
            <a:avLst/>
          </a:prstGeom>
          <a:solidFill>
            <a:schemeClr val="accent3">
              <a:lumMod val="40000"/>
              <a:lumOff val="60000"/>
            </a:schemeClr>
          </a:solidFill>
        </p:spPr>
        <p:txBody>
          <a:bodyPr wrap="square" rtlCol="0">
            <a:spAutoFit/>
          </a:bodyPr>
          <a:lstStyle/>
          <a:p>
            <a:r>
              <a:rPr lang="en-GB" sz="1000" dirty="0"/>
              <a:t>Comments</a:t>
            </a:r>
          </a:p>
          <a:p>
            <a:endParaRPr lang="en-GB" sz="1000" dirty="0"/>
          </a:p>
          <a:p>
            <a:r>
              <a:rPr lang="en-GB" sz="1000" dirty="0"/>
              <a:t>Trade marketing is not a function judged by its finance delivery similar to sales , rather its contribution to sales can be evaluated , utilizing sources of sales contribution.</a:t>
            </a:r>
          </a:p>
          <a:p>
            <a:r>
              <a:rPr lang="en-GB" sz="1000" dirty="0"/>
              <a:t>Primary driver function will always be sales and for specific accounts will be Key Account Management teams , both of which are sales functions .</a:t>
            </a:r>
          </a:p>
          <a:p>
            <a:r>
              <a:rPr lang="en-GB" sz="1000" dirty="0"/>
              <a:t>In the financial table alongside we look at a P&amp;L across a region and over 6 different channels , this is done for reasons of clarity and performance and also because this company can and has built a P&amp;L which can be supported by data sources.</a:t>
            </a:r>
          </a:p>
          <a:p>
            <a:r>
              <a:rPr lang="en-GB" sz="1000" dirty="0"/>
              <a:t>Typically the trade marketing function will work on how much volume can be sold with different types of engagement.</a:t>
            </a:r>
          </a:p>
          <a:p>
            <a:r>
              <a:rPr lang="en-GB" sz="1000" dirty="0"/>
              <a:t>Eventually an account will be compromise of 2 sources of sales from a brand owner company </a:t>
            </a:r>
          </a:p>
          <a:p>
            <a:endParaRPr lang="en-GB" sz="1000" dirty="0"/>
          </a:p>
          <a:p>
            <a:r>
              <a:rPr lang="en-GB" sz="1000" b="1" dirty="0"/>
              <a:t>A Direct Sales </a:t>
            </a:r>
          </a:p>
          <a:p>
            <a:r>
              <a:rPr lang="en-GB" sz="1000" b="1" dirty="0"/>
              <a:t>B Promoted product sales </a:t>
            </a:r>
          </a:p>
          <a:p>
            <a:r>
              <a:rPr lang="en-GB" sz="1000" b="1" dirty="0"/>
              <a:t>C Totals of ( A + B ) </a:t>
            </a:r>
          </a:p>
          <a:p>
            <a:endParaRPr lang="en-GB" sz="1000" b="1" dirty="0"/>
          </a:p>
          <a:p>
            <a:r>
              <a:rPr lang="en-GB" sz="1000" b="1" dirty="0"/>
              <a:t>The component of B will be a portion or fraction of A     </a:t>
            </a:r>
          </a:p>
        </p:txBody>
      </p:sp>
    </p:spTree>
    <p:extLst>
      <p:ext uri="{BB962C8B-B14F-4D97-AF65-F5344CB8AC3E}">
        <p14:creationId xmlns:p14="http://schemas.microsoft.com/office/powerpoint/2010/main" val="32997248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374F001-FFD3-BC29-F928-2438D3530DC3}"/>
              </a:ext>
            </a:extLst>
          </p:cNvPr>
          <p:cNvSpPr txBox="1"/>
          <p:nvPr/>
        </p:nvSpPr>
        <p:spPr>
          <a:xfrm>
            <a:off x="3085536" y="2990944"/>
            <a:ext cx="5918826"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ROI</a:t>
            </a:r>
          </a:p>
        </p:txBody>
      </p:sp>
    </p:spTree>
    <p:extLst>
      <p:ext uri="{BB962C8B-B14F-4D97-AF65-F5344CB8AC3E}">
        <p14:creationId xmlns:p14="http://schemas.microsoft.com/office/powerpoint/2010/main" val="69913156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tomers &amp; Users / Color Wheel">
            <a:extLst>
              <a:ext uri="{FF2B5EF4-FFF2-40B4-BE49-F238E27FC236}">
                <a16:creationId xmlns:a16="http://schemas.microsoft.com/office/drawing/2014/main" id="{235BF9F6-8FB8-4102-B600-1BA25DA75A90}"/>
              </a:ext>
            </a:extLst>
          </p:cNvPr>
          <p:cNvPicPr>
            <a:picLocks noChangeAspect="1" noChangeArrowheads="1"/>
          </p:cNvPicPr>
          <p:nvPr/>
        </p:nvPicPr>
        <p:blipFill>
          <a:blip r:embed="rId2">
            <a:grayscl/>
            <a:extLst>
              <a:ext uri="{28A0092B-C50C-407E-A947-70E740481C1C}">
                <a14:useLocalDpi xmlns:a14="http://schemas.microsoft.com/office/drawing/2010/main" val="0"/>
              </a:ext>
            </a:extLst>
          </a:blip>
          <a:srcRect/>
          <a:stretch>
            <a:fillRect/>
          </a:stretch>
        </p:blipFill>
        <p:spPr bwMode="auto">
          <a:xfrm>
            <a:off x="398234" y="763404"/>
            <a:ext cx="2839408" cy="1891046"/>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Yellow and Black Letter T-letter Blocks">
            <a:extLst>
              <a:ext uri="{FF2B5EF4-FFF2-40B4-BE49-F238E27FC236}">
                <a16:creationId xmlns:a16="http://schemas.microsoft.com/office/drawing/2014/main" id="{B0B09F9C-79B3-4CC7-89A4-00ED763C74F9}"/>
              </a:ext>
            </a:extLst>
          </p:cNvPr>
          <p:cNvPicPr>
            <a:picLocks noChangeAspect="1" noChangeArrowheads="1"/>
          </p:cNvPicPr>
          <p:nvPr/>
        </p:nvPicPr>
        <p:blipFill>
          <a:blip r:embed="rId3">
            <a:grayscl/>
            <a:extLst>
              <a:ext uri="{28A0092B-C50C-407E-A947-70E740481C1C}">
                <a14:useLocalDpi xmlns:a14="http://schemas.microsoft.com/office/drawing/2010/main" val="0"/>
              </a:ext>
            </a:extLst>
          </a:blip>
          <a:srcRect/>
          <a:stretch>
            <a:fillRect/>
          </a:stretch>
        </p:blipFill>
        <p:spPr bwMode="auto">
          <a:xfrm>
            <a:off x="3366165" y="4319939"/>
            <a:ext cx="2911852" cy="1866959"/>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White and Yellow Dice on Green Surface">
            <a:extLst>
              <a:ext uri="{FF2B5EF4-FFF2-40B4-BE49-F238E27FC236}">
                <a16:creationId xmlns:a16="http://schemas.microsoft.com/office/drawing/2014/main" id="{05C760EA-A3E9-4BAD-93E9-60A6E1CC9921}"/>
              </a:ext>
            </a:extLst>
          </p:cNvPr>
          <p:cNvPicPr>
            <a:picLocks noChangeAspect="1" noChangeArrowheads="1"/>
          </p:cNvPicPr>
          <p:nvPr/>
        </p:nvPicPr>
        <p:blipFill>
          <a:blip r:embed="rId4">
            <a:grayscl/>
            <a:extLst>
              <a:ext uri="{28A0092B-C50C-407E-A947-70E740481C1C}">
                <a14:useLocalDpi xmlns:a14="http://schemas.microsoft.com/office/drawing/2010/main" val="0"/>
              </a:ext>
            </a:extLst>
          </a:blip>
          <a:srcRect/>
          <a:stretch>
            <a:fillRect/>
          </a:stretch>
        </p:blipFill>
        <p:spPr bwMode="auto">
          <a:xfrm>
            <a:off x="398234" y="4319939"/>
            <a:ext cx="2850294" cy="1904719"/>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Grayscale Photo of People at Market">
            <a:extLst>
              <a:ext uri="{FF2B5EF4-FFF2-40B4-BE49-F238E27FC236}">
                <a16:creationId xmlns:a16="http://schemas.microsoft.com/office/drawing/2014/main" id="{33360189-70B2-4227-B44B-51871A89BB4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01904" y="754717"/>
            <a:ext cx="2911851" cy="190471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Logo&#10;&#10;Description automatically generated">
            <a:extLst>
              <a:ext uri="{FF2B5EF4-FFF2-40B4-BE49-F238E27FC236}">
                <a16:creationId xmlns:a16="http://schemas.microsoft.com/office/drawing/2014/main" id="{07D0B562-11DB-4F24-BB09-D018A7ACE61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4" name="Footer Placeholder 3">
            <a:extLst>
              <a:ext uri="{FF2B5EF4-FFF2-40B4-BE49-F238E27FC236}">
                <a16:creationId xmlns:a16="http://schemas.microsoft.com/office/drawing/2014/main" id="{7645C8D1-EABD-447B-B8E8-294ED42B5306}"/>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tint val="75000"/>
                  </a:prstClr>
                </a:solidFill>
                <a:effectLst/>
                <a:uLnTx/>
                <a:uFillTx/>
                <a:latin typeface="Lato Light"/>
                <a:ea typeface="+mn-ea"/>
                <a:cs typeface="+mn-cs"/>
              </a:rPr>
              <a:t>www.upskilpro.com</a:t>
            </a:r>
          </a:p>
        </p:txBody>
      </p:sp>
      <p:sp>
        <p:nvSpPr>
          <p:cNvPr id="23" name="Rectangle 22">
            <a:extLst>
              <a:ext uri="{FF2B5EF4-FFF2-40B4-BE49-F238E27FC236}">
                <a16:creationId xmlns:a16="http://schemas.microsoft.com/office/drawing/2014/main" id="{C63B2F05-B9A4-42FA-9DE1-4E4B120E90EB}"/>
              </a:ext>
            </a:extLst>
          </p:cNvPr>
          <p:cNvSpPr/>
          <p:nvPr/>
        </p:nvSpPr>
        <p:spPr>
          <a:xfrm>
            <a:off x="7114140" y="2596903"/>
            <a:ext cx="4574866" cy="193899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UpskilPRO tools are designed in easy-to-use solutions, all you need to do is download the tool and get to work immediately . All UpskilPRO material has taken 100’s of hours and many 1000’s of $ to build , all this expertise and content is brought to you for a fraction of the cost to help professionals enhance their capabil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	core areas which are best suited to improve using our tool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endParaRPr>
          </a:p>
          <a:p>
            <a:pPr marL="21145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Subject matter expertise </a:t>
            </a:r>
          </a:p>
          <a:p>
            <a:pPr marL="21145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Best practices</a:t>
            </a:r>
          </a:p>
          <a:p>
            <a:pPr marL="21145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Analytical output &amp; charting </a:t>
            </a:r>
          </a:p>
          <a:p>
            <a:pPr marL="21145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Prioritization</a:t>
            </a:r>
          </a:p>
          <a:p>
            <a:pPr marL="21145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Process</a:t>
            </a:r>
          </a:p>
          <a:p>
            <a:pPr marL="21145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Training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endParaRPr>
          </a:p>
        </p:txBody>
      </p:sp>
      <p:sp>
        <p:nvSpPr>
          <p:cNvPr id="49" name="Rectangle 48">
            <a:extLst>
              <a:ext uri="{FF2B5EF4-FFF2-40B4-BE49-F238E27FC236}">
                <a16:creationId xmlns:a16="http://schemas.microsoft.com/office/drawing/2014/main" id="{2595F606-B854-479A-B445-F7B07576866F}"/>
              </a:ext>
            </a:extLst>
          </p:cNvPr>
          <p:cNvSpPr/>
          <p:nvPr/>
        </p:nvSpPr>
        <p:spPr>
          <a:xfrm>
            <a:off x="6426689" y="6003111"/>
            <a:ext cx="5821238" cy="246221"/>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DB5000"/>
                </a:solidFill>
                <a:effectLst/>
                <a:uLnTx/>
                <a:uFillTx/>
                <a:latin typeface="Lato Light" panose="020F0502020204030203"/>
                <a:ea typeface="+mn-ea"/>
                <a:cs typeface="Segoe UI" panose="020B0502040204020203" pitchFamily="34" charset="0"/>
              </a:rPr>
              <a:t>Tools in one place to get 10X productive now. </a:t>
            </a:r>
          </a:p>
        </p:txBody>
      </p:sp>
      <p:sp>
        <p:nvSpPr>
          <p:cNvPr id="19" name="TextBox 18">
            <a:extLst>
              <a:ext uri="{FF2B5EF4-FFF2-40B4-BE49-F238E27FC236}">
                <a16:creationId xmlns:a16="http://schemas.microsoft.com/office/drawing/2014/main" id="{0FAFB392-4E20-49CF-9184-35A7319B2A1C}"/>
              </a:ext>
            </a:extLst>
          </p:cNvPr>
          <p:cNvSpPr txBox="1"/>
          <p:nvPr/>
        </p:nvSpPr>
        <p:spPr>
          <a:xfrm>
            <a:off x="6278017" y="864932"/>
            <a:ext cx="5913983" cy="830997"/>
          </a:xfrm>
          <a:prstGeom prst="rect">
            <a:avLst/>
          </a:prstGeom>
          <a:noFill/>
        </p:spPr>
        <p:txBody>
          <a:bodyPr wrap="square">
            <a:spAutoFit/>
          </a:bodyPr>
          <a:lstStyle/>
          <a:p>
            <a:pPr marL="0" marR="0" lvl="0" indent="0" algn="ctr" defTabSz="43535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A4A8B"/>
                </a:solidFill>
                <a:effectLst/>
                <a:uLnTx/>
                <a:uFillTx/>
                <a:latin typeface="Lato Light" panose="020F0502020204030203"/>
                <a:ea typeface="+mn-ea"/>
                <a:cs typeface="Arial" panose="020B0604020202020204" pitchFamily="34" charset="0"/>
              </a:rPr>
              <a:t>Created by </a:t>
            </a:r>
          </a:p>
          <a:p>
            <a:pPr marL="0" marR="0" lvl="0" indent="0" algn="ctr" defTabSz="43535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A4A8B"/>
                </a:solidFill>
                <a:effectLst/>
                <a:uLnTx/>
                <a:uFillTx/>
                <a:latin typeface="Lato Light" panose="020F0502020204030203"/>
                <a:ea typeface="+mn-ea"/>
                <a:cs typeface="Arial" panose="020B0604020202020204" pitchFamily="34" charset="0"/>
              </a:rPr>
              <a:t>ex-Procter &amp; Gamble, Rothmans,  BAT, Gillette, Nokia, </a:t>
            </a:r>
          </a:p>
          <a:p>
            <a:pPr marL="0" marR="0" lvl="0" indent="0" algn="ctr" defTabSz="43535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A4A8B"/>
                </a:solidFill>
                <a:effectLst/>
                <a:uLnTx/>
                <a:uFillTx/>
                <a:latin typeface="Lato Light" panose="020F0502020204030203"/>
                <a:ea typeface="+mn-ea"/>
                <a:cs typeface="Arial" panose="020B0604020202020204" pitchFamily="34" charset="0"/>
              </a:rPr>
              <a:t>Microsoft &amp; 3M managers. </a:t>
            </a:r>
          </a:p>
        </p:txBody>
      </p:sp>
      <p:sp>
        <p:nvSpPr>
          <p:cNvPr id="2" name="Slide Number Placeholder 1">
            <a:extLst>
              <a:ext uri="{FF2B5EF4-FFF2-40B4-BE49-F238E27FC236}">
                <a16:creationId xmlns:a16="http://schemas.microsoft.com/office/drawing/2014/main" id="{263C534D-7CD7-4D0F-89BB-7C9F18C0888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8828D9-3E6A-477F-A491-AADAE3613DD2}" type="slidenum">
              <a:rPr kumimoji="0" lang="en-GB" sz="1200" b="0" i="0" u="none" strike="noStrike" kern="1200" cap="none" spc="0" normalizeH="0" baseline="0" noProof="0" smtClean="0">
                <a:ln>
                  <a:noFill/>
                </a:ln>
                <a:solidFill>
                  <a:prstClr val="black">
                    <a:tint val="75000"/>
                  </a:prstClr>
                </a:solidFill>
                <a:effectLst/>
                <a:uLnTx/>
                <a:uFillTx/>
                <a:latin typeface="Lat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GB" sz="1200" b="0" i="0" u="none" strike="noStrike" kern="1200" cap="none" spc="0" normalizeH="0" baseline="0" noProof="0" dirty="0">
              <a:ln>
                <a:noFill/>
              </a:ln>
              <a:solidFill>
                <a:prstClr val="black">
                  <a:tint val="75000"/>
                </a:prstClr>
              </a:solidFill>
              <a:effectLst/>
              <a:uLnTx/>
              <a:uFillTx/>
              <a:latin typeface="Lato Light"/>
              <a:ea typeface="+mn-ea"/>
              <a:cs typeface="+mn-cs"/>
            </a:endParaRPr>
          </a:p>
        </p:txBody>
      </p:sp>
      <p:sp>
        <p:nvSpPr>
          <p:cNvPr id="3" name="Rectangle 2">
            <a:extLst>
              <a:ext uri="{FF2B5EF4-FFF2-40B4-BE49-F238E27FC236}">
                <a16:creationId xmlns:a16="http://schemas.microsoft.com/office/drawing/2014/main" id="{6B675A7B-FA23-3F3D-DE18-1C4C9A3A95A2}"/>
              </a:ext>
            </a:extLst>
          </p:cNvPr>
          <p:cNvSpPr/>
          <p:nvPr/>
        </p:nvSpPr>
        <p:spPr>
          <a:xfrm>
            <a:off x="554566" y="3005896"/>
            <a:ext cx="6519333" cy="861774"/>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83D65"/>
                </a:solidFill>
                <a:effectLst/>
                <a:uLnTx/>
                <a:uFillTx/>
                <a:latin typeface="Poppins" panose="00000500000000000000" pitchFamily="2" charset="0"/>
                <a:ea typeface="+mn-ea"/>
                <a:cs typeface="Poppins" panose="00000500000000000000" pitchFamily="2" charset="0"/>
              </a:rPr>
              <a:t>Making life </a:t>
            </a:r>
            <a:r>
              <a:rPr kumimoji="0" lang="en-US" sz="2800" b="1" i="0" u="none" strike="noStrike" kern="1200" cap="none" spc="0" normalizeH="0" baseline="0" noProof="0" dirty="0">
                <a:ln>
                  <a:noFill/>
                </a:ln>
                <a:solidFill>
                  <a:srgbClr val="EEBA00"/>
                </a:solidFill>
                <a:effectLst/>
                <a:uLnTx/>
                <a:uFillTx/>
                <a:latin typeface="Poppins" panose="00000500000000000000" pitchFamily="2" charset="0"/>
                <a:ea typeface="+mn-ea"/>
                <a:cs typeface="Poppins" panose="00000500000000000000" pitchFamily="2" charset="0"/>
              </a:rPr>
              <a:t>simpler</a:t>
            </a:r>
            <a:r>
              <a:rPr kumimoji="0" lang="en-US" sz="2800" b="1" i="0" u="none" strike="noStrike" kern="1200" cap="none" spc="0" normalizeH="0" baseline="0" noProof="0" dirty="0">
                <a:ln>
                  <a:noFill/>
                </a:ln>
                <a:solidFill>
                  <a:srgbClr val="083D65"/>
                </a:solidFill>
                <a:effectLst/>
                <a:uLnTx/>
                <a:uFillTx/>
                <a:latin typeface="Poppins" panose="00000500000000000000" pitchFamily="2" charset="0"/>
                <a:ea typeface="+mn-ea"/>
                <a:cs typeface="Poppins" panose="00000500000000000000" pitchFamily="2" charset="0"/>
              </a:rPr>
              <a:t> fo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91B5"/>
                </a:solidFill>
                <a:effectLst/>
                <a:uLnTx/>
                <a:uFillTx/>
                <a:latin typeface="Poppins" panose="00000500000000000000" pitchFamily="2" charset="0"/>
                <a:ea typeface="+mn-ea"/>
                <a:cs typeface="Poppins" panose="00000500000000000000" pitchFamily="2" charset="0"/>
              </a:rPr>
              <a:t>Sales</a:t>
            </a:r>
            <a:r>
              <a:rPr kumimoji="0" lang="en-US" sz="2800" b="1" i="0" u="none" strike="noStrike" kern="1200" cap="none" spc="0" normalizeH="0" baseline="0" noProof="0" dirty="0">
                <a:ln>
                  <a:noFill/>
                </a:ln>
                <a:solidFill>
                  <a:srgbClr val="083D65"/>
                </a:solidFill>
                <a:effectLst/>
                <a:uLnTx/>
                <a:uFillTx/>
                <a:latin typeface="Poppins" panose="00000500000000000000" pitchFamily="2" charset="0"/>
                <a:ea typeface="+mn-ea"/>
                <a:cs typeface="Poppins" panose="00000500000000000000" pitchFamily="2" charset="0"/>
              </a:rPr>
              <a:t> &amp; </a:t>
            </a:r>
            <a:r>
              <a:rPr kumimoji="0" lang="en-US" sz="2800" b="1" i="0" u="none" strike="noStrike" kern="1200" cap="none" spc="0" normalizeH="0" baseline="0" noProof="0" dirty="0">
                <a:ln>
                  <a:noFill/>
                </a:ln>
                <a:solidFill>
                  <a:srgbClr val="DB5000"/>
                </a:solidFill>
                <a:effectLst/>
                <a:uLnTx/>
                <a:uFillTx/>
                <a:latin typeface="Poppins" panose="00000500000000000000" pitchFamily="2" charset="0"/>
                <a:ea typeface="+mn-ea"/>
                <a:cs typeface="Poppins" panose="00000500000000000000" pitchFamily="2" charset="0"/>
              </a:rPr>
              <a:t>Marketing</a:t>
            </a:r>
            <a:r>
              <a:rPr kumimoji="0" lang="en-US" sz="2800" b="1" i="0" u="none" strike="noStrike" kern="1200" cap="none" spc="0" normalizeH="0" baseline="0" noProof="0" dirty="0">
                <a:ln>
                  <a:noFill/>
                </a:ln>
                <a:solidFill>
                  <a:srgbClr val="083D65"/>
                </a:solidFill>
                <a:effectLst/>
                <a:uLnTx/>
                <a:uFillTx/>
                <a:latin typeface="Poppins" panose="00000500000000000000" pitchFamily="2" charset="0"/>
                <a:ea typeface="+mn-ea"/>
                <a:cs typeface="Poppins" panose="00000500000000000000" pitchFamily="2" charset="0"/>
              </a:rPr>
              <a:t> professionals. </a:t>
            </a:r>
          </a:p>
        </p:txBody>
      </p:sp>
    </p:spTree>
    <p:extLst>
      <p:ext uri="{BB962C8B-B14F-4D97-AF65-F5344CB8AC3E}">
        <p14:creationId xmlns:p14="http://schemas.microsoft.com/office/powerpoint/2010/main" val="302551590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9D82CE9-F93B-3196-EA9F-725DAAE988AB}"/>
              </a:ext>
            </a:extLst>
          </p:cNvPr>
          <p:cNvPicPr>
            <a:picLocks noChangeAspect="1"/>
          </p:cNvPicPr>
          <p:nvPr/>
        </p:nvPicPr>
        <p:blipFill>
          <a:blip r:embed="rId2"/>
          <a:stretch>
            <a:fillRect/>
          </a:stretch>
        </p:blipFill>
        <p:spPr>
          <a:xfrm>
            <a:off x="5800243" y="2241412"/>
            <a:ext cx="6157494" cy="2078916"/>
          </a:xfrm>
          <a:prstGeom prst="rect">
            <a:avLst/>
          </a:prstGeom>
        </p:spPr>
      </p:pic>
      <p:sp>
        <p:nvSpPr>
          <p:cNvPr id="7" name="Rectangle 6">
            <a:extLst>
              <a:ext uri="{FF2B5EF4-FFF2-40B4-BE49-F238E27FC236}">
                <a16:creationId xmlns:a16="http://schemas.microsoft.com/office/drawing/2014/main" id="{693BF65E-9573-1BDA-9CE4-E021C94FC7F8}"/>
              </a:ext>
            </a:extLst>
          </p:cNvPr>
          <p:cNvSpPr/>
          <p:nvPr/>
        </p:nvSpPr>
        <p:spPr>
          <a:xfrm>
            <a:off x="6833226" y="2499961"/>
            <a:ext cx="4229663" cy="43693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Light"/>
              <a:ea typeface="+mn-ea"/>
              <a:cs typeface="+mn-cs"/>
            </a:endParaRPr>
          </a:p>
        </p:txBody>
      </p:sp>
      <p:sp>
        <p:nvSpPr>
          <p:cNvPr id="4" name="Rectangle 3">
            <a:extLst>
              <a:ext uri="{FF2B5EF4-FFF2-40B4-BE49-F238E27FC236}">
                <a16:creationId xmlns:a16="http://schemas.microsoft.com/office/drawing/2014/main" id="{506242F6-CA1E-42FB-BB1A-B13E71A7D987}"/>
              </a:ext>
            </a:extLst>
          </p:cNvPr>
          <p:cNvSpPr/>
          <p:nvPr/>
        </p:nvSpPr>
        <p:spPr>
          <a:xfrm>
            <a:off x="-2286" y="-13209"/>
            <a:ext cx="5760000" cy="6871209"/>
          </a:xfrm>
          <a:prstGeom prst="rect">
            <a:avLst/>
          </a:prstGeom>
          <a:solidFill>
            <a:srgbClr val="3984A3"/>
          </a:solidFill>
          <a:ln w="12700" cap="flat" cmpd="sng" algn="ctr">
            <a:noFill/>
            <a:prstDash val="solid"/>
            <a:miter lim="800000"/>
          </a:ln>
          <a:effectLst/>
        </p:spPr>
        <p:txBody>
          <a:bodyPr wrap="square"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GB" sz="1000" b="1" i="0" u="none" strike="noStrike" kern="0" cap="none" spc="0" normalizeH="0" baseline="0" noProof="0" dirty="0">
              <a:ln>
                <a:noFill/>
              </a:ln>
              <a:solidFill>
                <a:srgbClr val="FFFFFF"/>
              </a:solidFill>
              <a:effectLst/>
              <a:uLnTx/>
              <a:uFillTx/>
              <a:latin typeface="Lato Light" panose="020F0502020204030203"/>
              <a:ea typeface="+mn-ea"/>
              <a:cs typeface="+mn-cs"/>
            </a:endParaRPr>
          </a:p>
        </p:txBody>
      </p:sp>
      <p:sp>
        <p:nvSpPr>
          <p:cNvPr id="13" name="TextBox 12">
            <a:extLst>
              <a:ext uri="{FF2B5EF4-FFF2-40B4-BE49-F238E27FC236}">
                <a16:creationId xmlns:a16="http://schemas.microsoft.com/office/drawing/2014/main" id="{E4F23697-1BEC-4F6B-A1E1-CF2064D07358}"/>
              </a:ext>
            </a:extLst>
          </p:cNvPr>
          <p:cNvSpPr txBox="1"/>
          <p:nvPr/>
        </p:nvSpPr>
        <p:spPr>
          <a:xfrm>
            <a:off x="9268286" y="6267597"/>
            <a:ext cx="2923714" cy="4770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D96800"/>
                </a:solidFill>
                <a:effectLst/>
                <a:uLnTx/>
                <a:uFillTx/>
                <a:latin typeface="Lato Light" panose="020F0502020204030203"/>
                <a:ea typeface="+mn-ea"/>
                <a:cs typeface="+mn-cs"/>
              </a:rPr>
              <a:t>Tools, Content &amp; Templat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lumMod val="50000"/>
                  </a:prstClr>
                </a:solidFill>
                <a:effectLst/>
                <a:uLnTx/>
                <a:uFillTx/>
                <a:latin typeface="Lato Light" panose="020F0502020204030203"/>
                <a:ea typeface="+mn-ea"/>
                <a:cs typeface="+mn-cs"/>
              </a:rPr>
              <a:t>Hand built using experience &amp; insight </a:t>
            </a:r>
          </a:p>
        </p:txBody>
      </p:sp>
      <p:pic>
        <p:nvPicPr>
          <p:cNvPr id="14" name="Picture 13" descr="Logo&#10;&#10;Description automatically generated">
            <a:extLst>
              <a:ext uri="{FF2B5EF4-FFF2-40B4-BE49-F238E27FC236}">
                <a16:creationId xmlns:a16="http://schemas.microsoft.com/office/drawing/2014/main" id="{F4A6D227-4561-4949-BB83-BE740B69EA2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09024" y="199287"/>
            <a:ext cx="1601128" cy="372663"/>
          </a:xfrm>
          <a:prstGeom prst="rect">
            <a:avLst/>
          </a:prstGeom>
        </p:spPr>
      </p:pic>
      <p:sp>
        <p:nvSpPr>
          <p:cNvPr id="15" name="TextBox 14">
            <a:extLst>
              <a:ext uri="{FF2B5EF4-FFF2-40B4-BE49-F238E27FC236}">
                <a16:creationId xmlns:a16="http://schemas.microsoft.com/office/drawing/2014/main" id="{50709A3E-8602-46AD-B797-5EAFDCDBDC85}"/>
              </a:ext>
            </a:extLst>
          </p:cNvPr>
          <p:cNvSpPr txBox="1"/>
          <p:nvPr/>
        </p:nvSpPr>
        <p:spPr>
          <a:xfrm>
            <a:off x="1" y="2900574"/>
            <a:ext cx="5746282" cy="523220"/>
          </a:xfrm>
          <a:prstGeom prst="rect">
            <a:avLst/>
          </a:prstGeom>
          <a:noFill/>
        </p:spPr>
        <p:txBody>
          <a:bodyPr wrap="square" rtlCol="0">
            <a:spAutoFit/>
          </a:bodyPr>
          <a:lstStyle/>
          <a:p>
            <a:pPr marL="0" marR="0" lvl="0" indent="0" algn="ctr"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prstClr val="white">
                    <a:lumMod val="95000"/>
                  </a:prstClr>
                </a:solidFill>
                <a:effectLst/>
                <a:uLnTx/>
                <a:uFillTx/>
                <a:latin typeface="Poppins" panose="00000500000000000000" pitchFamily="2" charset="0"/>
                <a:ea typeface="MS Gothic" panose="020B0609070205080204" pitchFamily="49" charset="-128"/>
                <a:cs typeface="Poppins" panose="00000500000000000000" pitchFamily="2" charset="0"/>
              </a:rPr>
              <a:t>Trade Marketing Plans </a:t>
            </a:r>
          </a:p>
        </p:txBody>
      </p:sp>
      <p:sp>
        <p:nvSpPr>
          <p:cNvPr id="17" name="TextBox 16">
            <a:extLst>
              <a:ext uri="{FF2B5EF4-FFF2-40B4-BE49-F238E27FC236}">
                <a16:creationId xmlns:a16="http://schemas.microsoft.com/office/drawing/2014/main" id="{5E97F481-60A8-4455-BC7E-3C6E20C88789}"/>
              </a:ext>
            </a:extLst>
          </p:cNvPr>
          <p:cNvSpPr txBox="1"/>
          <p:nvPr/>
        </p:nvSpPr>
        <p:spPr>
          <a:xfrm>
            <a:off x="143391" y="5440664"/>
            <a:ext cx="5468645" cy="369332"/>
          </a:xfrm>
          <a:prstGeom prst="rect">
            <a:avLst/>
          </a:prstGeom>
          <a:noFill/>
        </p:spPr>
        <p:txBody>
          <a:bodyPr wrap="square" lIns="360000" rIns="360000">
            <a:spAutoFit/>
          </a:bodyPr>
          <a:lstStyle>
            <a:defPPr>
              <a:defRPr lang="en-US"/>
            </a:defPPr>
            <a:lvl1pPr>
              <a:defRPr b="0" i="0">
                <a:solidFill>
                  <a:srgbClr val="909399"/>
                </a:solidFill>
                <a:effectLst/>
                <a:latin typeface="Helvetica Neu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Lato Light" panose="020F0502020204030203"/>
                <a:ea typeface="+mn-ea"/>
                <a:cs typeface="+mn-cs"/>
              </a:rPr>
              <a:t>Sales &amp; Marketing Fundamentals. </a:t>
            </a:r>
          </a:p>
        </p:txBody>
      </p:sp>
      <p:sp>
        <p:nvSpPr>
          <p:cNvPr id="11" name="Rectangle 10">
            <a:extLst>
              <a:ext uri="{FF2B5EF4-FFF2-40B4-BE49-F238E27FC236}">
                <a16:creationId xmlns:a16="http://schemas.microsoft.com/office/drawing/2014/main" id="{A8F0AC1C-972A-F2F9-95B2-6197829C058C}"/>
              </a:ext>
            </a:extLst>
          </p:cNvPr>
          <p:cNvSpPr/>
          <p:nvPr/>
        </p:nvSpPr>
        <p:spPr>
          <a:xfrm>
            <a:off x="0" y="5937662"/>
            <a:ext cx="5760000" cy="9203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Lato Light"/>
              <a:ea typeface="+mn-ea"/>
              <a:cs typeface="+mn-cs"/>
            </a:endParaRPr>
          </a:p>
        </p:txBody>
      </p:sp>
      <p:sp>
        <p:nvSpPr>
          <p:cNvPr id="21" name="TextBox 20">
            <a:extLst>
              <a:ext uri="{FF2B5EF4-FFF2-40B4-BE49-F238E27FC236}">
                <a16:creationId xmlns:a16="http://schemas.microsoft.com/office/drawing/2014/main" id="{C2B943F9-3DF2-7055-7DC5-9F94603624AD}"/>
              </a:ext>
            </a:extLst>
          </p:cNvPr>
          <p:cNvSpPr txBox="1"/>
          <p:nvPr/>
        </p:nvSpPr>
        <p:spPr>
          <a:xfrm>
            <a:off x="-171198" y="6037266"/>
            <a:ext cx="2701337" cy="584775"/>
          </a:xfrm>
          <a:prstGeom prst="rect">
            <a:avLst/>
          </a:prstGeom>
          <a:noFill/>
        </p:spPr>
        <p:txBody>
          <a:bodyPr wrap="square" lIns="360000" rIns="360000">
            <a:spAutoFit/>
          </a:bodyPr>
          <a:lstStyle>
            <a:defPPr>
              <a:defRPr lang="en-US"/>
            </a:defPPr>
            <a:lvl1pPr>
              <a:defRPr b="0" i="0">
                <a:solidFill>
                  <a:srgbClr val="909399"/>
                </a:solidFill>
                <a:effectLst/>
                <a:latin typeface="Helvetica Neu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Lato Light" panose="020F0502020204030203"/>
                <a:ea typeface="+mn-ea"/>
                <a:cs typeface="+mn-cs"/>
              </a:rPr>
              <a:t>UpskilPRO e Institute for Sales &amp; Marketing </a:t>
            </a:r>
          </a:p>
        </p:txBody>
      </p:sp>
      <p:grpSp>
        <p:nvGrpSpPr>
          <p:cNvPr id="2" name="Group 1">
            <a:extLst>
              <a:ext uri="{FF2B5EF4-FFF2-40B4-BE49-F238E27FC236}">
                <a16:creationId xmlns:a16="http://schemas.microsoft.com/office/drawing/2014/main" id="{565B190F-2259-40D0-F0A3-463AF60102AE}"/>
              </a:ext>
            </a:extLst>
          </p:cNvPr>
          <p:cNvGrpSpPr/>
          <p:nvPr/>
        </p:nvGrpSpPr>
        <p:grpSpPr>
          <a:xfrm>
            <a:off x="5198734" y="4462162"/>
            <a:ext cx="1055370" cy="1055370"/>
            <a:chOff x="7108613" y="4124330"/>
            <a:chExt cx="1055370" cy="1055370"/>
          </a:xfrm>
        </p:grpSpPr>
        <p:sp>
          <p:nvSpPr>
            <p:cNvPr id="3" name="Oval 2">
              <a:extLst>
                <a:ext uri="{FF2B5EF4-FFF2-40B4-BE49-F238E27FC236}">
                  <a16:creationId xmlns:a16="http://schemas.microsoft.com/office/drawing/2014/main" id="{B13CF234-3E26-BC0F-BA5E-5C9B9D6BA978}"/>
                </a:ext>
              </a:extLst>
            </p:cNvPr>
            <p:cNvSpPr/>
            <p:nvPr/>
          </p:nvSpPr>
          <p:spPr>
            <a:xfrm>
              <a:off x="7108613" y="4124330"/>
              <a:ext cx="1055370" cy="1055370"/>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ato Light"/>
                <a:ea typeface="+mn-ea"/>
                <a:cs typeface="+mn-cs"/>
              </a:endParaRPr>
            </a:p>
          </p:txBody>
        </p:sp>
        <p:sp>
          <p:nvSpPr>
            <p:cNvPr id="5" name="Google Shape;104;p13">
              <a:extLst>
                <a:ext uri="{FF2B5EF4-FFF2-40B4-BE49-F238E27FC236}">
                  <a16:creationId xmlns:a16="http://schemas.microsoft.com/office/drawing/2014/main" id="{FA2B2BC9-5BBF-801E-39A4-2BDB472C35DB}"/>
                </a:ext>
              </a:extLst>
            </p:cNvPr>
            <p:cNvSpPr/>
            <p:nvPr/>
          </p:nvSpPr>
          <p:spPr>
            <a:xfrm>
              <a:off x="7322078" y="4349750"/>
              <a:ext cx="631825" cy="550862"/>
            </a:xfrm>
            <a:custGeom>
              <a:avLst/>
              <a:gdLst/>
              <a:ahLst/>
              <a:cxnLst/>
              <a:rect l="l" t="t" r="r" b="b"/>
              <a:pathLst>
                <a:path w="145" h="126" extrusionOk="0">
                  <a:moveTo>
                    <a:pt x="129" y="126"/>
                  </a:moveTo>
                  <a:cubicBezTo>
                    <a:pt x="17" y="126"/>
                    <a:pt x="17" y="126"/>
                    <a:pt x="17" y="126"/>
                  </a:cubicBezTo>
                  <a:cubicBezTo>
                    <a:pt x="8" y="126"/>
                    <a:pt x="0" y="118"/>
                    <a:pt x="0" y="109"/>
                  </a:cubicBezTo>
                  <a:cubicBezTo>
                    <a:pt x="0" y="81"/>
                    <a:pt x="0" y="81"/>
                    <a:pt x="0" y="81"/>
                  </a:cubicBezTo>
                  <a:cubicBezTo>
                    <a:pt x="0" y="80"/>
                    <a:pt x="1" y="78"/>
                    <a:pt x="3" y="78"/>
                  </a:cubicBezTo>
                  <a:cubicBezTo>
                    <a:pt x="5" y="78"/>
                    <a:pt x="6" y="80"/>
                    <a:pt x="6" y="81"/>
                  </a:cubicBezTo>
                  <a:cubicBezTo>
                    <a:pt x="6" y="109"/>
                    <a:pt x="6" y="109"/>
                    <a:pt x="6" y="109"/>
                  </a:cubicBezTo>
                  <a:cubicBezTo>
                    <a:pt x="6" y="115"/>
                    <a:pt x="11" y="120"/>
                    <a:pt x="17" y="120"/>
                  </a:cubicBezTo>
                  <a:cubicBezTo>
                    <a:pt x="129" y="120"/>
                    <a:pt x="129" y="120"/>
                    <a:pt x="129" y="120"/>
                  </a:cubicBezTo>
                  <a:cubicBezTo>
                    <a:pt x="134" y="120"/>
                    <a:pt x="139" y="115"/>
                    <a:pt x="139" y="109"/>
                  </a:cubicBezTo>
                  <a:cubicBezTo>
                    <a:pt x="139" y="82"/>
                    <a:pt x="139" y="82"/>
                    <a:pt x="139" y="82"/>
                  </a:cubicBezTo>
                  <a:cubicBezTo>
                    <a:pt x="139" y="80"/>
                    <a:pt x="141" y="79"/>
                    <a:pt x="142" y="79"/>
                  </a:cubicBezTo>
                  <a:cubicBezTo>
                    <a:pt x="144" y="79"/>
                    <a:pt x="145" y="80"/>
                    <a:pt x="145" y="82"/>
                  </a:cubicBezTo>
                  <a:cubicBezTo>
                    <a:pt x="145" y="109"/>
                    <a:pt x="145" y="109"/>
                    <a:pt x="145" y="109"/>
                  </a:cubicBezTo>
                  <a:cubicBezTo>
                    <a:pt x="145" y="118"/>
                    <a:pt x="138" y="126"/>
                    <a:pt x="129" y="126"/>
                  </a:cubicBezTo>
                  <a:close/>
                  <a:moveTo>
                    <a:pt x="79" y="90"/>
                  </a:moveTo>
                  <a:cubicBezTo>
                    <a:pt x="67" y="90"/>
                    <a:pt x="67" y="90"/>
                    <a:pt x="67" y="90"/>
                  </a:cubicBezTo>
                  <a:cubicBezTo>
                    <a:pt x="62" y="90"/>
                    <a:pt x="59" y="86"/>
                    <a:pt x="59" y="81"/>
                  </a:cubicBezTo>
                  <a:cubicBezTo>
                    <a:pt x="59" y="67"/>
                    <a:pt x="59" y="67"/>
                    <a:pt x="59" y="67"/>
                  </a:cubicBezTo>
                  <a:cubicBezTo>
                    <a:pt x="59" y="62"/>
                    <a:pt x="62" y="58"/>
                    <a:pt x="67" y="58"/>
                  </a:cubicBezTo>
                  <a:cubicBezTo>
                    <a:pt x="79" y="58"/>
                    <a:pt x="79" y="58"/>
                    <a:pt x="79" y="58"/>
                  </a:cubicBezTo>
                  <a:cubicBezTo>
                    <a:pt x="83" y="58"/>
                    <a:pt x="87" y="62"/>
                    <a:pt x="87" y="67"/>
                  </a:cubicBezTo>
                  <a:cubicBezTo>
                    <a:pt x="87" y="81"/>
                    <a:pt x="87" y="81"/>
                    <a:pt x="87" y="81"/>
                  </a:cubicBezTo>
                  <a:cubicBezTo>
                    <a:pt x="87" y="86"/>
                    <a:pt x="83" y="90"/>
                    <a:pt x="79" y="90"/>
                  </a:cubicBezTo>
                  <a:close/>
                  <a:moveTo>
                    <a:pt x="67" y="64"/>
                  </a:moveTo>
                  <a:cubicBezTo>
                    <a:pt x="66" y="64"/>
                    <a:pt x="65" y="65"/>
                    <a:pt x="65" y="67"/>
                  </a:cubicBezTo>
                  <a:cubicBezTo>
                    <a:pt x="65" y="81"/>
                    <a:pt x="65" y="81"/>
                    <a:pt x="65" y="81"/>
                  </a:cubicBezTo>
                  <a:cubicBezTo>
                    <a:pt x="65" y="83"/>
                    <a:pt x="66" y="84"/>
                    <a:pt x="67" y="84"/>
                  </a:cubicBezTo>
                  <a:cubicBezTo>
                    <a:pt x="79" y="84"/>
                    <a:pt x="79" y="84"/>
                    <a:pt x="79" y="84"/>
                  </a:cubicBezTo>
                  <a:cubicBezTo>
                    <a:pt x="80" y="84"/>
                    <a:pt x="81" y="83"/>
                    <a:pt x="81" y="81"/>
                  </a:cubicBezTo>
                  <a:cubicBezTo>
                    <a:pt x="81" y="67"/>
                    <a:pt x="81" y="67"/>
                    <a:pt x="81" y="67"/>
                  </a:cubicBezTo>
                  <a:cubicBezTo>
                    <a:pt x="81" y="65"/>
                    <a:pt x="80" y="64"/>
                    <a:pt x="79" y="64"/>
                  </a:cubicBezTo>
                  <a:lnTo>
                    <a:pt x="67" y="64"/>
                  </a:lnTo>
                  <a:close/>
                  <a:moveTo>
                    <a:pt x="129" y="77"/>
                  </a:moveTo>
                  <a:cubicBezTo>
                    <a:pt x="96" y="77"/>
                    <a:pt x="96" y="77"/>
                    <a:pt x="96" y="77"/>
                  </a:cubicBezTo>
                  <a:cubicBezTo>
                    <a:pt x="94" y="77"/>
                    <a:pt x="93" y="76"/>
                    <a:pt x="93" y="74"/>
                  </a:cubicBezTo>
                  <a:cubicBezTo>
                    <a:pt x="93" y="72"/>
                    <a:pt x="94" y="71"/>
                    <a:pt x="96" y="71"/>
                  </a:cubicBezTo>
                  <a:cubicBezTo>
                    <a:pt x="129" y="71"/>
                    <a:pt x="129" y="71"/>
                    <a:pt x="129" y="71"/>
                  </a:cubicBezTo>
                  <a:cubicBezTo>
                    <a:pt x="134" y="71"/>
                    <a:pt x="139" y="66"/>
                    <a:pt x="139" y="60"/>
                  </a:cubicBezTo>
                  <a:cubicBezTo>
                    <a:pt x="139" y="39"/>
                    <a:pt x="139" y="39"/>
                    <a:pt x="139" y="39"/>
                  </a:cubicBezTo>
                  <a:cubicBezTo>
                    <a:pt x="139" y="33"/>
                    <a:pt x="134" y="28"/>
                    <a:pt x="129" y="28"/>
                  </a:cubicBezTo>
                  <a:cubicBezTo>
                    <a:pt x="17" y="28"/>
                    <a:pt x="17" y="28"/>
                    <a:pt x="17" y="28"/>
                  </a:cubicBezTo>
                  <a:cubicBezTo>
                    <a:pt x="11" y="28"/>
                    <a:pt x="6" y="33"/>
                    <a:pt x="6" y="39"/>
                  </a:cubicBezTo>
                  <a:cubicBezTo>
                    <a:pt x="6" y="60"/>
                    <a:pt x="6" y="60"/>
                    <a:pt x="6" y="60"/>
                  </a:cubicBezTo>
                  <a:cubicBezTo>
                    <a:pt x="6" y="66"/>
                    <a:pt x="11" y="71"/>
                    <a:pt x="17" y="71"/>
                  </a:cubicBezTo>
                  <a:cubicBezTo>
                    <a:pt x="50" y="71"/>
                    <a:pt x="50" y="71"/>
                    <a:pt x="50" y="71"/>
                  </a:cubicBezTo>
                  <a:cubicBezTo>
                    <a:pt x="52" y="71"/>
                    <a:pt x="53" y="72"/>
                    <a:pt x="53" y="74"/>
                  </a:cubicBezTo>
                  <a:cubicBezTo>
                    <a:pt x="53" y="76"/>
                    <a:pt x="52" y="77"/>
                    <a:pt x="50" y="77"/>
                  </a:cubicBezTo>
                  <a:cubicBezTo>
                    <a:pt x="17" y="77"/>
                    <a:pt x="17" y="77"/>
                    <a:pt x="17" y="77"/>
                  </a:cubicBezTo>
                  <a:cubicBezTo>
                    <a:pt x="8" y="77"/>
                    <a:pt x="0" y="70"/>
                    <a:pt x="0" y="60"/>
                  </a:cubicBezTo>
                  <a:cubicBezTo>
                    <a:pt x="0" y="39"/>
                    <a:pt x="0" y="39"/>
                    <a:pt x="0" y="39"/>
                  </a:cubicBezTo>
                  <a:cubicBezTo>
                    <a:pt x="0" y="30"/>
                    <a:pt x="8" y="22"/>
                    <a:pt x="17" y="22"/>
                  </a:cubicBezTo>
                  <a:cubicBezTo>
                    <a:pt x="129" y="22"/>
                    <a:pt x="129" y="22"/>
                    <a:pt x="129" y="22"/>
                  </a:cubicBezTo>
                  <a:cubicBezTo>
                    <a:pt x="138" y="22"/>
                    <a:pt x="145" y="30"/>
                    <a:pt x="145" y="39"/>
                  </a:cubicBezTo>
                  <a:cubicBezTo>
                    <a:pt x="145" y="63"/>
                    <a:pt x="145" y="63"/>
                    <a:pt x="145" y="63"/>
                  </a:cubicBezTo>
                  <a:cubicBezTo>
                    <a:pt x="145" y="63"/>
                    <a:pt x="145" y="64"/>
                    <a:pt x="145" y="64"/>
                  </a:cubicBezTo>
                  <a:cubicBezTo>
                    <a:pt x="143" y="72"/>
                    <a:pt x="137" y="77"/>
                    <a:pt x="129" y="77"/>
                  </a:cubicBezTo>
                  <a:close/>
                  <a:moveTo>
                    <a:pt x="97" y="17"/>
                  </a:moveTo>
                  <a:cubicBezTo>
                    <a:pt x="95" y="17"/>
                    <a:pt x="94" y="15"/>
                    <a:pt x="94" y="13"/>
                  </a:cubicBezTo>
                  <a:cubicBezTo>
                    <a:pt x="94" y="9"/>
                    <a:pt x="90" y="6"/>
                    <a:pt x="85" y="6"/>
                  </a:cubicBezTo>
                  <a:cubicBezTo>
                    <a:pt x="61" y="6"/>
                    <a:pt x="61" y="6"/>
                    <a:pt x="61" y="6"/>
                  </a:cubicBezTo>
                  <a:cubicBezTo>
                    <a:pt x="56" y="6"/>
                    <a:pt x="52" y="9"/>
                    <a:pt x="52" y="13"/>
                  </a:cubicBezTo>
                  <a:cubicBezTo>
                    <a:pt x="52" y="15"/>
                    <a:pt x="50" y="17"/>
                    <a:pt x="49" y="17"/>
                  </a:cubicBezTo>
                  <a:cubicBezTo>
                    <a:pt x="47" y="17"/>
                    <a:pt x="45" y="15"/>
                    <a:pt x="45" y="13"/>
                  </a:cubicBezTo>
                  <a:cubicBezTo>
                    <a:pt x="45" y="6"/>
                    <a:pt x="52" y="0"/>
                    <a:pt x="61" y="0"/>
                  </a:cubicBezTo>
                  <a:cubicBezTo>
                    <a:pt x="85" y="0"/>
                    <a:pt x="85" y="0"/>
                    <a:pt x="85" y="0"/>
                  </a:cubicBezTo>
                  <a:cubicBezTo>
                    <a:pt x="93" y="0"/>
                    <a:pt x="100" y="6"/>
                    <a:pt x="100" y="13"/>
                  </a:cubicBezTo>
                  <a:cubicBezTo>
                    <a:pt x="100" y="15"/>
                    <a:pt x="99" y="17"/>
                    <a:pt x="97" y="17"/>
                  </a:cubicBezTo>
                  <a:close/>
                </a:path>
              </a:pathLst>
            </a:custGeom>
            <a:solidFill>
              <a:schemeClr val="accent2"/>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Calibri"/>
                <a:cs typeface="Calibri"/>
                <a:sym typeface="Calibri"/>
              </a:endParaRPr>
            </a:p>
          </p:txBody>
        </p:sp>
      </p:grpSp>
      <p:sp>
        <p:nvSpPr>
          <p:cNvPr id="6" name="TextBox 5">
            <a:extLst>
              <a:ext uri="{FF2B5EF4-FFF2-40B4-BE49-F238E27FC236}">
                <a16:creationId xmlns:a16="http://schemas.microsoft.com/office/drawing/2014/main" id="{BD7AA0B0-B891-B97B-6E9D-8856CC601784}"/>
              </a:ext>
            </a:extLst>
          </p:cNvPr>
          <p:cNvSpPr txBox="1"/>
          <p:nvPr/>
        </p:nvSpPr>
        <p:spPr>
          <a:xfrm>
            <a:off x="6935466" y="2546975"/>
            <a:ext cx="3879677" cy="400110"/>
          </a:xfrm>
          <a:prstGeom prst="rect">
            <a:avLst/>
          </a:prstGeom>
          <a:solidFill>
            <a:schemeClr val="bg1">
              <a:alpha val="1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black">
                    <a:lumMod val="65000"/>
                    <a:lumOff val="35000"/>
                  </a:prstClr>
                </a:solidFill>
                <a:effectLst/>
                <a:uLnTx/>
                <a:uFillTx/>
                <a:latin typeface="Poppins" panose="00000500000000000000" pitchFamily="2" charset="0"/>
                <a:ea typeface="+mn-ea"/>
                <a:cs typeface="Poppins" panose="00000500000000000000" pitchFamily="2" charset="0"/>
              </a:rPr>
              <a:t>Trade Marketing Plans </a:t>
            </a:r>
          </a:p>
        </p:txBody>
      </p:sp>
    </p:spTree>
    <p:extLst>
      <p:ext uri="{BB962C8B-B14F-4D97-AF65-F5344CB8AC3E}">
        <p14:creationId xmlns:p14="http://schemas.microsoft.com/office/powerpoint/2010/main" val="17373164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TextBox 103">
            <a:extLst>
              <a:ext uri="{FF2B5EF4-FFF2-40B4-BE49-F238E27FC236}">
                <a16:creationId xmlns:a16="http://schemas.microsoft.com/office/drawing/2014/main" id="{31E1A1A4-84C1-A0B6-F684-4C7EFDC53DB3}"/>
              </a:ext>
            </a:extLst>
          </p:cNvPr>
          <p:cNvSpPr txBox="1"/>
          <p:nvPr/>
        </p:nvSpPr>
        <p:spPr>
          <a:xfrm>
            <a:off x="8077842" y="2991069"/>
            <a:ext cx="4114158" cy="1692771"/>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Inter"/>
                <a:ea typeface="+mn-ea"/>
                <a:cs typeface="+mn-cs"/>
              </a:rPr>
              <a:t>We Created UpskilPRO for the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Inter"/>
                <a:ea typeface="+mn-ea"/>
                <a:cs typeface="+mn-cs"/>
              </a:rPr>
              <a:t>Sales Professional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Inter"/>
                <a:ea typeface="+mn-ea"/>
                <a:cs typeface="+mn-cs"/>
              </a:rPr>
              <a:t>Trade Marketer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Inter"/>
                <a:ea typeface="+mn-ea"/>
                <a:cs typeface="+mn-cs"/>
              </a:rPr>
              <a:t>Marketing Executive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Inter"/>
                <a:ea typeface="+mn-ea"/>
                <a:cs typeface="+mn-cs"/>
              </a:rPr>
              <a:t>Operations Manager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Inter"/>
                <a:ea typeface="+mn-ea"/>
                <a:cs typeface="+mn-cs"/>
              </a:rPr>
              <a:t>VP/Director/Manager  </a:t>
            </a:r>
          </a:p>
        </p:txBody>
      </p:sp>
      <p:sp>
        <p:nvSpPr>
          <p:cNvPr id="78" name="Rectangle 77">
            <a:extLst>
              <a:ext uri="{FF2B5EF4-FFF2-40B4-BE49-F238E27FC236}">
                <a16:creationId xmlns:a16="http://schemas.microsoft.com/office/drawing/2014/main" id="{CD65FBC2-87F4-C9D1-D315-DE19EC3C9736}"/>
              </a:ext>
            </a:extLst>
          </p:cNvPr>
          <p:cNvSpPr/>
          <p:nvPr/>
        </p:nvSpPr>
        <p:spPr>
          <a:xfrm>
            <a:off x="6496980" y="5376705"/>
            <a:ext cx="3263470" cy="950976"/>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all" spc="0" normalizeH="0" baseline="0" noProof="0" dirty="0">
              <a:ln>
                <a:noFill/>
              </a:ln>
              <a:solidFill>
                <a:srgbClr val="002060"/>
              </a:solidFill>
              <a:effectLst/>
              <a:uLnTx/>
              <a:uFillTx/>
              <a:latin typeface="Lato light" panose="020F0502020204030203" pitchFamily="34" charset="0"/>
              <a:ea typeface="Lato light" panose="020F0502020204030203" pitchFamily="34" charset="0"/>
              <a:cs typeface="Lato light" panose="020F050202020403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all" spc="0" normalizeH="0" baseline="0" noProof="0" dirty="0">
                <a:ln>
                  <a:noFill/>
                </a:ln>
                <a:solidFill>
                  <a:srgbClr val="4472C4"/>
                </a:solidFill>
                <a:effectLst/>
                <a:uLnTx/>
                <a:uFillTx/>
                <a:latin typeface="Lato light" panose="020F0502020204030203" pitchFamily="34" charset="0"/>
                <a:ea typeface="Lato light" panose="020F0502020204030203" pitchFamily="34" charset="0"/>
                <a:cs typeface="Lato light" panose="020F0502020204030203" pitchFamily="34" charset="0"/>
              </a:rPr>
              <a:t>SAVE THOUSANDS OF DOLLA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6B7280"/>
                </a:solidFill>
                <a:effectLst/>
                <a:uLnTx/>
                <a:uFillTx/>
                <a:latin typeface="Inter"/>
                <a:ea typeface="+mn-ea"/>
                <a:cs typeface="+mn-cs"/>
              </a:rPr>
              <a:t>The  average company will save 1000’s of $ per employee in time &amp; effort using our ready tool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srgbClr val="002060"/>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87" name="Rectangle 86">
            <a:extLst>
              <a:ext uri="{FF2B5EF4-FFF2-40B4-BE49-F238E27FC236}">
                <a16:creationId xmlns:a16="http://schemas.microsoft.com/office/drawing/2014/main" id="{2D3E5D50-6A58-1AC9-0C09-D3F625B87940}"/>
              </a:ext>
            </a:extLst>
          </p:cNvPr>
          <p:cNvSpPr/>
          <p:nvPr/>
        </p:nvSpPr>
        <p:spPr>
          <a:xfrm>
            <a:off x="3357665" y="5393261"/>
            <a:ext cx="2505456" cy="950976"/>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all" spc="0" normalizeH="0" baseline="0" noProof="0" dirty="0">
                <a:ln>
                  <a:noFill/>
                </a:ln>
                <a:solidFill>
                  <a:srgbClr val="4472C4"/>
                </a:solidFill>
                <a:effectLst/>
                <a:uLnTx/>
                <a:uFillTx/>
                <a:latin typeface="Lato light" panose="020F0502020204030203" pitchFamily="34" charset="0"/>
                <a:ea typeface="Lato light" panose="020F0502020204030203" pitchFamily="34" charset="0"/>
                <a:cs typeface="Lato light" panose="020F0502020204030203" pitchFamily="34" charset="0"/>
              </a:rPr>
              <a:t>	All tool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6B7280"/>
                </a:solidFill>
                <a:effectLst/>
                <a:uLnTx/>
                <a:uFillTx/>
                <a:latin typeface="Inter"/>
                <a:ea typeface="+mn-ea"/>
                <a:cs typeface="+mn-cs"/>
              </a:rPr>
              <a:t>are based on topics and subject based situations  and are simple and easy to use .</a:t>
            </a:r>
            <a:endParaRPr kumimoji="0" lang="en-US" sz="1100" b="0" i="0" u="none" strike="noStrike" kern="1200" cap="none" spc="0" normalizeH="0" baseline="0" noProof="0" dirty="0">
              <a:ln>
                <a:noFill/>
              </a:ln>
              <a:solidFill>
                <a:srgbClr val="053881"/>
              </a:solidFill>
              <a:effectLst/>
              <a:uLnTx/>
              <a:uFillTx/>
              <a:latin typeface="Calibri Light" panose="020F0302020204030204"/>
              <a:ea typeface="+mn-ea"/>
              <a:cs typeface="+mn-cs"/>
            </a:endParaRPr>
          </a:p>
        </p:txBody>
      </p:sp>
      <p:sp>
        <p:nvSpPr>
          <p:cNvPr id="96" name="Rectangle 95">
            <a:extLst>
              <a:ext uri="{FF2B5EF4-FFF2-40B4-BE49-F238E27FC236}">
                <a16:creationId xmlns:a16="http://schemas.microsoft.com/office/drawing/2014/main" id="{2B4DAE25-6C5F-3494-F64C-741ABE1C03FF}"/>
              </a:ext>
            </a:extLst>
          </p:cNvPr>
          <p:cNvSpPr/>
          <p:nvPr/>
        </p:nvSpPr>
        <p:spPr>
          <a:xfrm>
            <a:off x="7830607" y="1956265"/>
            <a:ext cx="3337401" cy="950976"/>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all" spc="0" normalizeH="0" baseline="0" noProof="0" dirty="0">
                <a:ln>
                  <a:noFill/>
                </a:ln>
                <a:solidFill>
                  <a:srgbClr val="4472C4"/>
                </a:solidFill>
                <a:effectLst/>
                <a:uLnTx/>
                <a:uFillTx/>
                <a:latin typeface="Lato light" panose="020F0502020204030203" pitchFamily="34" charset="0"/>
                <a:ea typeface="Lato light" panose="020F0502020204030203" pitchFamily="34" charset="0"/>
                <a:cs typeface="Lato light" panose="020F0502020204030203" pitchFamily="34" charset="0"/>
              </a:rPr>
              <a:t>Develop YOUR BUSINES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53881"/>
                </a:solidFill>
                <a:effectLst/>
                <a:uLnTx/>
                <a:uFillTx/>
                <a:latin typeface="Calibri Light" panose="020F0302020204030204"/>
                <a:ea typeface="+mn-ea"/>
                <a:cs typeface="+mn-cs"/>
              </a:rPr>
              <a:t>Learn , &amp; utilize the knowledge and  processes and enhance your capabilities  as the other companies have</a:t>
            </a:r>
          </a:p>
        </p:txBody>
      </p:sp>
      <p:pic>
        <p:nvPicPr>
          <p:cNvPr id="103" name="Picture 12" descr="Best Practice Icon Stock Illustrations – 614 Best Practice Icon Stock  Illustrations, Vectors &amp; Clipart - Dreamstime">
            <a:extLst>
              <a:ext uri="{FF2B5EF4-FFF2-40B4-BE49-F238E27FC236}">
                <a16:creationId xmlns:a16="http://schemas.microsoft.com/office/drawing/2014/main" id="{F37EE7CD-C229-CDF2-39F2-6C252DB3ECD7}"/>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7605594" y="1897420"/>
            <a:ext cx="590319" cy="590319"/>
          </a:xfrm>
          <a:prstGeom prst="rect">
            <a:avLst/>
          </a:prstGeom>
          <a:noFill/>
          <a:extLst>
            <a:ext uri="{909E8E84-426E-40DD-AFC4-6F175D3DCCD1}">
              <a14:hiddenFill xmlns:a14="http://schemas.microsoft.com/office/drawing/2010/main">
                <a:solidFill>
                  <a:srgbClr val="FFFFFF"/>
                </a:solidFill>
              </a14:hiddenFill>
            </a:ext>
          </a:extLst>
        </p:spPr>
      </p:pic>
      <p:sp>
        <p:nvSpPr>
          <p:cNvPr id="93" name="Rectangle 92">
            <a:extLst>
              <a:ext uri="{FF2B5EF4-FFF2-40B4-BE49-F238E27FC236}">
                <a16:creationId xmlns:a16="http://schemas.microsoft.com/office/drawing/2014/main" id="{78E332B7-B7E1-B248-F475-7B8D5F897C26}"/>
              </a:ext>
            </a:extLst>
          </p:cNvPr>
          <p:cNvSpPr/>
          <p:nvPr/>
        </p:nvSpPr>
        <p:spPr>
          <a:xfrm>
            <a:off x="6277006" y="886897"/>
            <a:ext cx="3144395" cy="950976"/>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all" spc="0" normalizeH="0" baseline="0" noProof="0" dirty="0">
                <a:ln>
                  <a:noFill/>
                </a:ln>
                <a:solidFill>
                  <a:srgbClr val="4472C4"/>
                </a:solidFill>
                <a:effectLst/>
                <a:uLnTx/>
                <a:uFillTx/>
                <a:latin typeface="Lato light" panose="020F0502020204030203" pitchFamily="34" charset="0"/>
                <a:ea typeface="Lato light" panose="020F0502020204030203" pitchFamily="34" charset="0"/>
                <a:cs typeface="Lato light" panose="020F0502020204030203" pitchFamily="34" charset="0"/>
              </a:rPr>
              <a:t>Improve your knowledg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6B7280"/>
                </a:solidFill>
                <a:effectLst/>
                <a:uLnTx/>
                <a:uFillTx/>
                <a:latin typeface="Inter"/>
                <a:ea typeface="+mn-ea"/>
                <a:cs typeface="+mn-cs"/>
              </a:rPr>
              <a:t>with professional Strategic Tools , Templates and planning documents for any business situation</a:t>
            </a:r>
            <a:r>
              <a:rPr kumimoji="0" lang="en-GB" sz="1100" b="0" i="0" u="none" strike="noStrike" kern="1200" cap="none" spc="0" normalizeH="0" baseline="0" noProof="0" dirty="0">
                <a:ln>
                  <a:noFill/>
                </a:ln>
                <a:solidFill>
                  <a:srgbClr val="6B7280"/>
                </a:solidFill>
                <a:effectLst/>
                <a:uLnTx/>
                <a:uFillTx/>
                <a:latin typeface="Inter"/>
                <a:ea typeface="+mn-ea"/>
                <a:cs typeface="+mn-cs"/>
              </a:rPr>
              <a:t>!</a:t>
            </a:r>
            <a:endParaRPr kumimoji="0" lang="en-GB" sz="1100" b="0" i="0" u="none" strike="noStrike" kern="1200" cap="none" spc="0" normalizeH="0" baseline="0" noProof="0" dirty="0">
              <a:ln>
                <a:noFill/>
              </a:ln>
              <a:solidFill>
                <a:srgbClr val="002060"/>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pic>
        <p:nvPicPr>
          <p:cNvPr id="100" name="Picture 4" descr="Learn icon Icons PNG - Free PNG and Icons Downloads">
            <a:extLst>
              <a:ext uri="{FF2B5EF4-FFF2-40B4-BE49-F238E27FC236}">
                <a16:creationId xmlns:a16="http://schemas.microsoft.com/office/drawing/2014/main" id="{17E3F676-CEEC-B059-1406-339AEFF300B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93886" y="1012242"/>
            <a:ext cx="610069" cy="565558"/>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15" descr="Product Development vector icon symbol. Creative sign from seo and  development i , #Affiliate, #vector, #icon… | Vector icons symbols, Icon  collection, Vector icons">
            <a:extLst>
              <a:ext uri="{FF2B5EF4-FFF2-40B4-BE49-F238E27FC236}">
                <a16:creationId xmlns:a16="http://schemas.microsoft.com/office/drawing/2014/main" id="{B7572A61-3D16-2FF2-7007-2C558051484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4036875" y="1969502"/>
            <a:ext cx="662581" cy="672747"/>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88" name="Picture 17" descr="Icon Of Finger Clicking On The Inscription Benefits. Vector Illustration  Eps 10 Stock Vector - Illustration of earn, graphic: 174957695">
            <a:extLst>
              <a:ext uri="{FF2B5EF4-FFF2-40B4-BE49-F238E27FC236}">
                <a16:creationId xmlns:a16="http://schemas.microsoft.com/office/drawing/2014/main" id="{9D4F0335-D83F-9DE6-A01B-0DE8E2C0183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2989" t="13756" r="5979" b="14374"/>
          <a:stretch/>
        </p:blipFill>
        <p:spPr bwMode="auto">
          <a:xfrm>
            <a:off x="5811332" y="5387897"/>
            <a:ext cx="709472" cy="717842"/>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84" name="Rectangle 83">
            <a:extLst>
              <a:ext uri="{FF2B5EF4-FFF2-40B4-BE49-F238E27FC236}">
                <a16:creationId xmlns:a16="http://schemas.microsoft.com/office/drawing/2014/main" id="{739CC267-64BE-B908-C1DB-27BE7B6B9F54}"/>
              </a:ext>
            </a:extLst>
          </p:cNvPr>
          <p:cNvSpPr/>
          <p:nvPr/>
        </p:nvSpPr>
        <p:spPr>
          <a:xfrm>
            <a:off x="1749884" y="4778621"/>
            <a:ext cx="2505456" cy="950976"/>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all" spc="0" normalizeH="0" baseline="0" noProof="0" dirty="0">
              <a:ln>
                <a:noFill/>
              </a:ln>
              <a:solidFill>
                <a:srgbClr val="6B7280"/>
              </a:solidFill>
              <a:effectLst/>
              <a:uLnTx/>
              <a:uFillTx/>
              <a:latin typeface="Inter"/>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all" spc="0" normalizeH="0" baseline="0" noProof="0" dirty="0">
                <a:ln>
                  <a:noFill/>
                </a:ln>
                <a:solidFill>
                  <a:srgbClr val="4472C4"/>
                </a:solidFill>
                <a:effectLst/>
                <a:uLnTx/>
                <a:uFillTx/>
                <a:latin typeface="Lato light" panose="020F0502020204030203" pitchFamily="34" charset="0"/>
                <a:ea typeface="Lato light" panose="020F0502020204030203" pitchFamily="34" charset="0"/>
                <a:cs typeface="Lato light" panose="020F0502020204030203" pitchFamily="34" charset="0"/>
              </a:rPr>
              <a:t>CREATED B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6B7280"/>
                </a:solidFill>
                <a:effectLst/>
                <a:uLnTx/>
                <a:uFillTx/>
                <a:latin typeface="Inter"/>
                <a:ea typeface="+mn-ea"/>
                <a:cs typeface="+mn-cs"/>
              </a:rPr>
              <a:t>world class sales and market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6B7280"/>
                </a:solidFill>
                <a:effectLst/>
                <a:uLnTx/>
                <a:uFillTx/>
                <a:latin typeface="Inter"/>
                <a:ea typeface="+mn-ea"/>
                <a:cs typeface="+mn-cs"/>
              </a:rPr>
              <a:t> business professionals. </a:t>
            </a:r>
          </a:p>
        </p:txBody>
      </p:sp>
      <p:pic>
        <p:nvPicPr>
          <p:cNvPr id="85" name="Picture 10" descr="Consultation Icon">
            <a:extLst>
              <a:ext uri="{FF2B5EF4-FFF2-40B4-BE49-F238E27FC236}">
                <a16:creationId xmlns:a16="http://schemas.microsoft.com/office/drawing/2014/main" id="{6645D959-C975-81C9-81C2-B5A09A38AB0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893982" y="4954325"/>
            <a:ext cx="639512" cy="63951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79" name="Picture 78" descr="Icon&#10;&#10;Description automatically generated">
            <a:extLst>
              <a:ext uri="{FF2B5EF4-FFF2-40B4-BE49-F238E27FC236}">
                <a16:creationId xmlns:a16="http://schemas.microsoft.com/office/drawing/2014/main" id="{9451BE40-AB2E-11A1-B0D1-AA49BF12AE91}"/>
              </a:ext>
            </a:extLst>
          </p:cNvPr>
          <p:cNvPicPr>
            <a:picLocks noChangeAspect="1"/>
          </p:cNvPicPr>
          <p:nvPr/>
        </p:nvPicPr>
        <p:blipFill rotWithShape="1">
          <a:blip r:embed="rId8">
            <a:extLst>
              <a:ext uri="{28A0092B-C50C-407E-A947-70E740481C1C}">
                <a14:useLocalDpi xmlns:a14="http://schemas.microsoft.com/office/drawing/2010/main" val="0"/>
              </a:ext>
            </a:extLst>
          </a:blip>
          <a:srcRect l="23957" t="19328" r="21644" b="22223"/>
          <a:stretch/>
        </p:blipFill>
        <p:spPr>
          <a:xfrm>
            <a:off x="7646466" y="4922416"/>
            <a:ext cx="642211" cy="690035"/>
          </a:xfrm>
          <a:prstGeom prst="rect">
            <a:avLst/>
          </a:prstGeom>
          <a:ln>
            <a:noFill/>
          </a:ln>
        </p:spPr>
      </p:pic>
      <p:sp>
        <p:nvSpPr>
          <p:cNvPr id="39" name="Freeform: Shape 38">
            <a:extLst>
              <a:ext uri="{FF2B5EF4-FFF2-40B4-BE49-F238E27FC236}">
                <a16:creationId xmlns:a16="http://schemas.microsoft.com/office/drawing/2014/main" id="{83864CF7-24A3-3B94-B422-2AD66106B8EE}"/>
              </a:ext>
            </a:extLst>
          </p:cNvPr>
          <p:cNvSpPr/>
          <p:nvPr/>
        </p:nvSpPr>
        <p:spPr>
          <a:xfrm>
            <a:off x="5432777" y="1600530"/>
            <a:ext cx="1326446" cy="4330472"/>
          </a:xfrm>
          <a:custGeom>
            <a:avLst/>
            <a:gdLst>
              <a:gd name="connsiteX0" fmla="*/ 663222 w 1326446"/>
              <a:gd name="connsiteY0" fmla="*/ 127729 h 4330472"/>
              <a:gd name="connsiteX1" fmla="*/ 23794 w 1326446"/>
              <a:gd name="connsiteY1" fmla="*/ 2165236 h 4330472"/>
              <a:gd name="connsiteX2" fmla="*/ 663222 w 1326446"/>
              <a:gd name="connsiteY2" fmla="*/ 4202743 h 4330472"/>
              <a:gd name="connsiteX3" fmla="*/ 1302650 w 1326446"/>
              <a:gd name="connsiteY3" fmla="*/ 2165236 h 4330472"/>
              <a:gd name="connsiteX4" fmla="*/ 663222 w 1326446"/>
              <a:gd name="connsiteY4" fmla="*/ 127729 h 4330472"/>
              <a:gd name="connsiteX5" fmla="*/ 663223 w 1326446"/>
              <a:gd name="connsiteY5" fmla="*/ 0 h 4330472"/>
              <a:gd name="connsiteX6" fmla="*/ 1326446 w 1326446"/>
              <a:gd name="connsiteY6" fmla="*/ 2165236 h 4330472"/>
              <a:gd name="connsiteX7" fmla="*/ 663223 w 1326446"/>
              <a:gd name="connsiteY7" fmla="*/ 4330472 h 4330472"/>
              <a:gd name="connsiteX8" fmla="*/ 0 w 1326446"/>
              <a:gd name="connsiteY8" fmla="*/ 2165236 h 4330472"/>
              <a:gd name="connsiteX9" fmla="*/ 663223 w 1326446"/>
              <a:gd name="connsiteY9" fmla="*/ 0 h 4330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6446" h="4330472">
                <a:moveTo>
                  <a:pt x="663222" y="127729"/>
                </a:moveTo>
                <a:cubicBezTo>
                  <a:pt x="310076" y="127729"/>
                  <a:pt x="23794" y="1039952"/>
                  <a:pt x="23794" y="2165236"/>
                </a:cubicBezTo>
                <a:cubicBezTo>
                  <a:pt x="23794" y="3290520"/>
                  <a:pt x="310076" y="4202743"/>
                  <a:pt x="663222" y="4202743"/>
                </a:cubicBezTo>
                <a:cubicBezTo>
                  <a:pt x="1016368" y="4202743"/>
                  <a:pt x="1302650" y="3290520"/>
                  <a:pt x="1302650" y="2165236"/>
                </a:cubicBezTo>
                <a:cubicBezTo>
                  <a:pt x="1302650" y="1039952"/>
                  <a:pt x="1016368" y="127729"/>
                  <a:pt x="663222" y="127729"/>
                </a:cubicBezTo>
                <a:close/>
                <a:moveTo>
                  <a:pt x="663223" y="0"/>
                </a:moveTo>
                <a:cubicBezTo>
                  <a:pt x="1029511" y="0"/>
                  <a:pt x="1326446" y="969409"/>
                  <a:pt x="1326446" y="2165236"/>
                </a:cubicBezTo>
                <a:cubicBezTo>
                  <a:pt x="1326446" y="3361063"/>
                  <a:pt x="1029511" y="4330472"/>
                  <a:pt x="663223" y="4330472"/>
                </a:cubicBezTo>
                <a:cubicBezTo>
                  <a:pt x="296935" y="4330472"/>
                  <a:pt x="0" y="3361063"/>
                  <a:pt x="0" y="2165236"/>
                </a:cubicBezTo>
                <a:cubicBezTo>
                  <a:pt x="0" y="969409"/>
                  <a:pt x="296935" y="0"/>
                  <a:pt x="663223" y="0"/>
                </a:cubicBezTo>
                <a:close/>
              </a:path>
            </a:pathLst>
          </a:custGeom>
          <a:solidFill>
            <a:srgbClr val="06395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2" name="Freeform: Shape 41">
            <a:extLst>
              <a:ext uri="{FF2B5EF4-FFF2-40B4-BE49-F238E27FC236}">
                <a16:creationId xmlns:a16="http://schemas.microsoft.com/office/drawing/2014/main" id="{B0C4C54A-73DF-E83B-986F-C836D627D18C}"/>
              </a:ext>
            </a:extLst>
          </p:cNvPr>
          <p:cNvSpPr/>
          <p:nvPr/>
        </p:nvSpPr>
        <p:spPr>
          <a:xfrm rot="2700000">
            <a:off x="5428994" y="1598964"/>
            <a:ext cx="1326446" cy="4330472"/>
          </a:xfrm>
          <a:custGeom>
            <a:avLst/>
            <a:gdLst>
              <a:gd name="connsiteX0" fmla="*/ 663222 w 1326446"/>
              <a:gd name="connsiteY0" fmla="*/ 127729 h 4330472"/>
              <a:gd name="connsiteX1" fmla="*/ 23794 w 1326446"/>
              <a:gd name="connsiteY1" fmla="*/ 2165236 h 4330472"/>
              <a:gd name="connsiteX2" fmla="*/ 663222 w 1326446"/>
              <a:gd name="connsiteY2" fmla="*/ 4202743 h 4330472"/>
              <a:gd name="connsiteX3" fmla="*/ 1302650 w 1326446"/>
              <a:gd name="connsiteY3" fmla="*/ 2165236 h 4330472"/>
              <a:gd name="connsiteX4" fmla="*/ 663222 w 1326446"/>
              <a:gd name="connsiteY4" fmla="*/ 127729 h 4330472"/>
              <a:gd name="connsiteX5" fmla="*/ 663223 w 1326446"/>
              <a:gd name="connsiteY5" fmla="*/ 0 h 4330472"/>
              <a:gd name="connsiteX6" fmla="*/ 1326446 w 1326446"/>
              <a:gd name="connsiteY6" fmla="*/ 2165236 h 4330472"/>
              <a:gd name="connsiteX7" fmla="*/ 663223 w 1326446"/>
              <a:gd name="connsiteY7" fmla="*/ 4330472 h 4330472"/>
              <a:gd name="connsiteX8" fmla="*/ 0 w 1326446"/>
              <a:gd name="connsiteY8" fmla="*/ 2165236 h 4330472"/>
              <a:gd name="connsiteX9" fmla="*/ 663223 w 1326446"/>
              <a:gd name="connsiteY9" fmla="*/ 0 h 4330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6446" h="4330472">
                <a:moveTo>
                  <a:pt x="663222" y="127729"/>
                </a:moveTo>
                <a:cubicBezTo>
                  <a:pt x="310076" y="127729"/>
                  <a:pt x="23794" y="1039952"/>
                  <a:pt x="23794" y="2165236"/>
                </a:cubicBezTo>
                <a:cubicBezTo>
                  <a:pt x="23794" y="3290520"/>
                  <a:pt x="310076" y="4202743"/>
                  <a:pt x="663222" y="4202743"/>
                </a:cubicBezTo>
                <a:cubicBezTo>
                  <a:pt x="1016368" y="4202743"/>
                  <a:pt x="1302650" y="3290520"/>
                  <a:pt x="1302650" y="2165236"/>
                </a:cubicBezTo>
                <a:cubicBezTo>
                  <a:pt x="1302650" y="1039952"/>
                  <a:pt x="1016368" y="127729"/>
                  <a:pt x="663222" y="127729"/>
                </a:cubicBezTo>
                <a:close/>
                <a:moveTo>
                  <a:pt x="663223" y="0"/>
                </a:moveTo>
                <a:cubicBezTo>
                  <a:pt x="1029511" y="0"/>
                  <a:pt x="1326446" y="969409"/>
                  <a:pt x="1326446" y="2165236"/>
                </a:cubicBezTo>
                <a:cubicBezTo>
                  <a:pt x="1326446" y="3361063"/>
                  <a:pt x="1029511" y="4330472"/>
                  <a:pt x="663223" y="4330472"/>
                </a:cubicBezTo>
                <a:cubicBezTo>
                  <a:pt x="296935" y="4330472"/>
                  <a:pt x="0" y="3361063"/>
                  <a:pt x="0" y="2165236"/>
                </a:cubicBezTo>
                <a:cubicBezTo>
                  <a:pt x="0" y="969409"/>
                  <a:pt x="296935" y="0"/>
                  <a:pt x="663223" y="0"/>
                </a:cubicBezTo>
                <a:close/>
              </a:path>
            </a:pathLst>
          </a:custGeom>
          <a:solidFill>
            <a:srgbClr val="06395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5" name="Freeform: Shape 44">
            <a:extLst>
              <a:ext uri="{FF2B5EF4-FFF2-40B4-BE49-F238E27FC236}">
                <a16:creationId xmlns:a16="http://schemas.microsoft.com/office/drawing/2014/main" id="{F897F91A-5C53-A643-243D-EEC550C799E9}"/>
              </a:ext>
            </a:extLst>
          </p:cNvPr>
          <p:cNvSpPr/>
          <p:nvPr/>
        </p:nvSpPr>
        <p:spPr>
          <a:xfrm rot="18900000">
            <a:off x="5445056" y="1598963"/>
            <a:ext cx="1326446" cy="4330472"/>
          </a:xfrm>
          <a:custGeom>
            <a:avLst/>
            <a:gdLst>
              <a:gd name="connsiteX0" fmla="*/ 663222 w 1326446"/>
              <a:gd name="connsiteY0" fmla="*/ 127729 h 4330472"/>
              <a:gd name="connsiteX1" fmla="*/ 23794 w 1326446"/>
              <a:gd name="connsiteY1" fmla="*/ 2165236 h 4330472"/>
              <a:gd name="connsiteX2" fmla="*/ 663222 w 1326446"/>
              <a:gd name="connsiteY2" fmla="*/ 4202743 h 4330472"/>
              <a:gd name="connsiteX3" fmla="*/ 1302650 w 1326446"/>
              <a:gd name="connsiteY3" fmla="*/ 2165236 h 4330472"/>
              <a:gd name="connsiteX4" fmla="*/ 663222 w 1326446"/>
              <a:gd name="connsiteY4" fmla="*/ 127729 h 4330472"/>
              <a:gd name="connsiteX5" fmla="*/ 663223 w 1326446"/>
              <a:gd name="connsiteY5" fmla="*/ 0 h 4330472"/>
              <a:gd name="connsiteX6" fmla="*/ 1326446 w 1326446"/>
              <a:gd name="connsiteY6" fmla="*/ 2165236 h 4330472"/>
              <a:gd name="connsiteX7" fmla="*/ 663223 w 1326446"/>
              <a:gd name="connsiteY7" fmla="*/ 4330472 h 4330472"/>
              <a:gd name="connsiteX8" fmla="*/ 0 w 1326446"/>
              <a:gd name="connsiteY8" fmla="*/ 2165236 h 4330472"/>
              <a:gd name="connsiteX9" fmla="*/ 663223 w 1326446"/>
              <a:gd name="connsiteY9" fmla="*/ 0 h 4330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6446" h="4330472">
                <a:moveTo>
                  <a:pt x="663222" y="127729"/>
                </a:moveTo>
                <a:cubicBezTo>
                  <a:pt x="310076" y="127729"/>
                  <a:pt x="23794" y="1039952"/>
                  <a:pt x="23794" y="2165236"/>
                </a:cubicBezTo>
                <a:cubicBezTo>
                  <a:pt x="23794" y="3290520"/>
                  <a:pt x="310076" y="4202743"/>
                  <a:pt x="663222" y="4202743"/>
                </a:cubicBezTo>
                <a:cubicBezTo>
                  <a:pt x="1016368" y="4202743"/>
                  <a:pt x="1302650" y="3290520"/>
                  <a:pt x="1302650" y="2165236"/>
                </a:cubicBezTo>
                <a:cubicBezTo>
                  <a:pt x="1302650" y="1039952"/>
                  <a:pt x="1016368" y="127729"/>
                  <a:pt x="663222" y="127729"/>
                </a:cubicBezTo>
                <a:close/>
                <a:moveTo>
                  <a:pt x="663223" y="0"/>
                </a:moveTo>
                <a:cubicBezTo>
                  <a:pt x="1029511" y="0"/>
                  <a:pt x="1326446" y="969409"/>
                  <a:pt x="1326446" y="2165236"/>
                </a:cubicBezTo>
                <a:cubicBezTo>
                  <a:pt x="1326446" y="3361063"/>
                  <a:pt x="1029511" y="4330472"/>
                  <a:pt x="663223" y="4330472"/>
                </a:cubicBezTo>
                <a:cubicBezTo>
                  <a:pt x="296935" y="4330472"/>
                  <a:pt x="0" y="3361063"/>
                  <a:pt x="0" y="2165236"/>
                </a:cubicBezTo>
                <a:cubicBezTo>
                  <a:pt x="0" y="969409"/>
                  <a:pt x="296935" y="0"/>
                  <a:pt x="663223" y="0"/>
                </a:cubicBezTo>
                <a:close/>
              </a:path>
            </a:pathLst>
          </a:custGeom>
          <a:solidFill>
            <a:srgbClr val="06395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8" name="Freeform: Shape 47">
            <a:extLst>
              <a:ext uri="{FF2B5EF4-FFF2-40B4-BE49-F238E27FC236}">
                <a16:creationId xmlns:a16="http://schemas.microsoft.com/office/drawing/2014/main" id="{A89C2471-DBEC-8886-99F4-D0B564E3A51A}"/>
              </a:ext>
            </a:extLst>
          </p:cNvPr>
          <p:cNvSpPr/>
          <p:nvPr/>
        </p:nvSpPr>
        <p:spPr>
          <a:xfrm rot="16200000">
            <a:off x="5438127" y="1595180"/>
            <a:ext cx="1326446" cy="4330472"/>
          </a:xfrm>
          <a:custGeom>
            <a:avLst/>
            <a:gdLst>
              <a:gd name="connsiteX0" fmla="*/ 663222 w 1326446"/>
              <a:gd name="connsiteY0" fmla="*/ 127729 h 4330472"/>
              <a:gd name="connsiteX1" fmla="*/ 23794 w 1326446"/>
              <a:gd name="connsiteY1" fmla="*/ 2165236 h 4330472"/>
              <a:gd name="connsiteX2" fmla="*/ 663222 w 1326446"/>
              <a:gd name="connsiteY2" fmla="*/ 4202743 h 4330472"/>
              <a:gd name="connsiteX3" fmla="*/ 1302650 w 1326446"/>
              <a:gd name="connsiteY3" fmla="*/ 2165236 h 4330472"/>
              <a:gd name="connsiteX4" fmla="*/ 663222 w 1326446"/>
              <a:gd name="connsiteY4" fmla="*/ 127729 h 4330472"/>
              <a:gd name="connsiteX5" fmla="*/ 663223 w 1326446"/>
              <a:gd name="connsiteY5" fmla="*/ 0 h 4330472"/>
              <a:gd name="connsiteX6" fmla="*/ 1326446 w 1326446"/>
              <a:gd name="connsiteY6" fmla="*/ 2165236 h 4330472"/>
              <a:gd name="connsiteX7" fmla="*/ 663223 w 1326446"/>
              <a:gd name="connsiteY7" fmla="*/ 4330472 h 4330472"/>
              <a:gd name="connsiteX8" fmla="*/ 0 w 1326446"/>
              <a:gd name="connsiteY8" fmla="*/ 2165236 h 4330472"/>
              <a:gd name="connsiteX9" fmla="*/ 663223 w 1326446"/>
              <a:gd name="connsiteY9" fmla="*/ 0 h 4330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6446" h="4330472">
                <a:moveTo>
                  <a:pt x="663222" y="127729"/>
                </a:moveTo>
                <a:cubicBezTo>
                  <a:pt x="310076" y="127729"/>
                  <a:pt x="23794" y="1039952"/>
                  <a:pt x="23794" y="2165236"/>
                </a:cubicBezTo>
                <a:cubicBezTo>
                  <a:pt x="23794" y="3290520"/>
                  <a:pt x="310076" y="4202743"/>
                  <a:pt x="663222" y="4202743"/>
                </a:cubicBezTo>
                <a:cubicBezTo>
                  <a:pt x="1016368" y="4202743"/>
                  <a:pt x="1302650" y="3290520"/>
                  <a:pt x="1302650" y="2165236"/>
                </a:cubicBezTo>
                <a:cubicBezTo>
                  <a:pt x="1302650" y="1039952"/>
                  <a:pt x="1016368" y="127729"/>
                  <a:pt x="663222" y="127729"/>
                </a:cubicBezTo>
                <a:close/>
                <a:moveTo>
                  <a:pt x="663223" y="0"/>
                </a:moveTo>
                <a:cubicBezTo>
                  <a:pt x="1029511" y="0"/>
                  <a:pt x="1326446" y="969409"/>
                  <a:pt x="1326446" y="2165236"/>
                </a:cubicBezTo>
                <a:cubicBezTo>
                  <a:pt x="1326446" y="3361063"/>
                  <a:pt x="1029511" y="4330472"/>
                  <a:pt x="663223" y="4330472"/>
                </a:cubicBezTo>
                <a:cubicBezTo>
                  <a:pt x="296935" y="4330472"/>
                  <a:pt x="0" y="3361063"/>
                  <a:pt x="0" y="2165236"/>
                </a:cubicBezTo>
                <a:cubicBezTo>
                  <a:pt x="0" y="969409"/>
                  <a:pt x="296935" y="0"/>
                  <a:pt x="663223" y="0"/>
                </a:cubicBezTo>
                <a:close/>
              </a:path>
            </a:pathLst>
          </a:custGeom>
          <a:solidFill>
            <a:srgbClr val="06395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1" name="Rectangle 80">
            <a:extLst>
              <a:ext uri="{FF2B5EF4-FFF2-40B4-BE49-F238E27FC236}">
                <a16:creationId xmlns:a16="http://schemas.microsoft.com/office/drawing/2014/main" id="{10A69157-44DF-88CE-64A8-F88C4190F02C}"/>
              </a:ext>
            </a:extLst>
          </p:cNvPr>
          <p:cNvSpPr/>
          <p:nvPr/>
        </p:nvSpPr>
        <p:spPr>
          <a:xfrm>
            <a:off x="863029" y="1587399"/>
            <a:ext cx="3262843" cy="950976"/>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all" spc="0" normalizeH="0" baseline="0" noProof="0" dirty="0">
                <a:ln>
                  <a:noFill/>
                </a:ln>
                <a:solidFill>
                  <a:srgbClr val="4472C4"/>
                </a:solidFill>
                <a:effectLst/>
                <a:uLnTx/>
                <a:uFillTx/>
                <a:latin typeface="Lato light" panose="020F0502020204030203" pitchFamily="34" charset="0"/>
                <a:ea typeface="Lato light" panose="020F0502020204030203" pitchFamily="34" charset="0"/>
                <a:cs typeface="Lato light" panose="020F0502020204030203" pitchFamily="34" charset="0"/>
              </a:rPr>
              <a:t>Use ready made tool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6B7280"/>
                </a:solidFill>
                <a:effectLst/>
                <a:uLnTx/>
                <a:uFillTx/>
                <a:latin typeface="Inter"/>
                <a:ea typeface="+mn-ea"/>
                <a:cs typeface="+mn-cs"/>
              </a:rPr>
              <a:t>with filled in examples and ready to print &amp; edit at your convenience . Just edit and fill-in the blanks !</a:t>
            </a:r>
          </a:p>
        </p:txBody>
      </p:sp>
      <p:sp>
        <p:nvSpPr>
          <p:cNvPr id="90" name="Rectangle 89">
            <a:extLst>
              <a:ext uri="{FF2B5EF4-FFF2-40B4-BE49-F238E27FC236}">
                <a16:creationId xmlns:a16="http://schemas.microsoft.com/office/drawing/2014/main" id="{A36D8FB7-D191-5C19-D54D-737D65DC34A1}"/>
              </a:ext>
            </a:extLst>
          </p:cNvPr>
          <p:cNvSpPr/>
          <p:nvPr/>
        </p:nvSpPr>
        <p:spPr>
          <a:xfrm>
            <a:off x="981598" y="3289253"/>
            <a:ext cx="2505456" cy="950976"/>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53881"/>
                </a:solidFill>
                <a:effectLst/>
                <a:uLnTx/>
                <a:uFillTx/>
                <a:latin typeface="Calibri Light" panose="020F0302020204030204"/>
                <a:ea typeface="+mn-ea"/>
                <a:cs typeface="+mn-cs"/>
              </a:rPr>
              <a:t>	</a:t>
            </a:r>
            <a:r>
              <a:rPr kumimoji="0" lang="en-GB" sz="1050" b="0" i="0" u="none" strike="noStrike" kern="1200" cap="all" spc="0" normalizeH="0" baseline="0" noProof="0" dirty="0">
                <a:ln>
                  <a:noFill/>
                </a:ln>
                <a:solidFill>
                  <a:srgbClr val="4472C4"/>
                </a:solidFill>
                <a:effectLst/>
                <a:uLnTx/>
                <a:uFillTx/>
                <a:latin typeface="Lato light" panose="020F0502020204030203" pitchFamily="34" charset="0"/>
                <a:ea typeface="Lato light" panose="020F0502020204030203" pitchFamily="34" charset="0"/>
                <a:cs typeface="Lato light" panose="020F0502020204030203" pitchFamily="34" charset="0"/>
              </a:rPr>
              <a:t>100’s of tools , </a:t>
            </a:r>
            <a:r>
              <a:rPr kumimoji="0" lang="en-GB" sz="1100" b="0" i="0" u="none" strike="noStrike" kern="1200" cap="none" spc="0" normalizeH="0" baseline="0" noProof="0" dirty="0">
                <a:ln>
                  <a:noFill/>
                </a:ln>
                <a:solidFill>
                  <a:srgbClr val="053881"/>
                </a:solidFill>
                <a:effectLst/>
                <a:uLnTx/>
                <a:uFillTx/>
                <a:latin typeface="Calibri Light" panose="020F0302020204030204"/>
                <a:ea typeface="+mn-ea"/>
                <a:cs typeface="+mn-cs"/>
              </a:rPr>
              <a:t>	TEMPLATES &amp; 	documents</a:t>
            </a:r>
          </a:p>
        </p:txBody>
      </p:sp>
      <p:pic>
        <p:nvPicPr>
          <p:cNvPr id="91" name="Picture 8" descr="Green and white flow chart illustration, Project management Computer Icons  Project plan, Project Management Icon free png | PNGFuel">
            <a:extLst>
              <a:ext uri="{FF2B5EF4-FFF2-40B4-BE49-F238E27FC236}">
                <a16:creationId xmlns:a16="http://schemas.microsoft.com/office/drawing/2014/main" id="{6D019537-5315-7A0C-25E1-AB43D3155ECB}"/>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3418204" y="3565135"/>
            <a:ext cx="461016" cy="389218"/>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105" name="Group 104">
            <a:extLst>
              <a:ext uri="{FF2B5EF4-FFF2-40B4-BE49-F238E27FC236}">
                <a16:creationId xmlns:a16="http://schemas.microsoft.com/office/drawing/2014/main" id="{6A778BE2-FE51-772A-3E0C-9B72E460DB91}"/>
              </a:ext>
            </a:extLst>
          </p:cNvPr>
          <p:cNvGrpSpPr/>
          <p:nvPr/>
        </p:nvGrpSpPr>
        <p:grpSpPr>
          <a:xfrm>
            <a:off x="2346067" y="6098477"/>
            <a:ext cx="8219335" cy="663120"/>
            <a:chOff x="1750166" y="5512849"/>
            <a:chExt cx="8219335" cy="663120"/>
          </a:xfrm>
        </p:grpSpPr>
        <p:sp>
          <p:nvSpPr>
            <p:cNvPr id="106" name="TextBox 105">
              <a:extLst>
                <a:ext uri="{FF2B5EF4-FFF2-40B4-BE49-F238E27FC236}">
                  <a16:creationId xmlns:a16="http://schemas.microsoft.com/office/drawing/2014/main" id="{99FAA1BF-3660-16D9-751A-5D38FF0E5289}"/>
                </a:ext>
              </a:extLst>
            </p:cNvPr>
            <p:cNvSpPr txBox="1"/>
            <p:nvPr/>
          </p:nvSpPr>
          <p:spPr>
            <a:xfrm>
              <a:off x="1811867" y="5557981"/>
              <a:ext cx="8157634"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Inter"/>
                  <a:ea typeface="+mn-ea"/>
                  <a:cs typeface="+mn-cs"/>
                </a:rPr>
                <a:t>Top Quality Tools &amp; Templates for developing both you and your business.</a:t>
              </a:r>
            </a:p>
          </p:txBody>
        </p:sp>
        <p:pic>
          <p:nvPicPr>
            <p:cNvPr id="107" name="Picture 6" descr="Productivity Icons - Download Free Vector Icons | Noun Project">
              <a:extLst>
                <a:ext uri="{FF2B5EF4-FFF2-40B4-BE49-F238E27FC236}">
                  <a16:creationId xmlns:a16="http://schemas.microsoft.com/office/drawing/2014/main" id="{580A944C-DCAF-86DC-B58C-6478FD3AB2C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750166" y="5512849"/>
              <a:ext cx="663120" cy="663120"/>
            </a:xfrm>
            <a:prstGeom prst="rect">
              <a:avLst/>
            </a:prstGeom>
            <a:noFill/>
            <a:extLst>
              <a:ext uri="{909E8E84-426E-40DD-AFC4-6F175D3DCCD1}">
                <a14:hiddenFill xmlns:a14="http://schemas.microsoft.com/office/drawing/2010/main">
                  <a:solidFill>
                    <a:srgbClr val="FFFFFF"/>
                  </a:solidFill>
                </a14:hiddenFill>
              </a:ext>
            </a:extLst>
          </p:spPr>
        </p:pic>
      </p:grpSp>
      <p:sp>
        <p:nvSpPr>
          <p:cNvPr id="108" name="TextBox 107">
            <a:extLst>
              <a:ext uri="{FF2B5EF4-FFF2-40B4-BE49-F238E27FC236}">
                <a16:creationId xmlns:a16="http://schemas.microsoft.com/office/drawing/2014/main" id="{9AA3F540-B22F-A9E9-CBE6-3EF3719E654E}"/>
              </a:ext>
            </a:extLst>
          </p:cNvPr>
          <p:cNvSpPr txBox="1"/>
          <p:nvPr/>
        </p:nvSpPr>
        <p:spPr>
          <a:xfrm>
            <a:off x="2793364" y="294829"/>
            <a:ext cx="6094476" cy="5539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000" b="1" i="0" u="none" strike="noStrike" kern="1200" cap="none" spc="0" normalizeH="0" baseline="0" noProof="0" dirty="0">
                <a:ln>
                  <a:noFill/>
                </a:ln>
                <a:solidFill>
                  <a:srgbClr val="44546A"/>
                </a:solidFill>
                <a:effectLst/>
                <a:uLnTx/>
                <a:uFillTx/>
                <a:latin typeface="Plato"/>
                <a:ea typeface="+mn-ea"/>
                <a:cs typeface="Poppins" pitchFamily="2" charset="77"/>
              </a:rPr>
              <a:t>7 Benefits of using UpskilPRO :</a:t>
            </a:r>
          </a:p>
        </p:txBody>
      </p:sp>
      <p:sp>
        <p:nvSpPr>
          <p:cNvPr id="110" name="Arrow: Right 109">
            <a:extLst>
              <a:ext uri="{FF2B5EF4-FFF2-40B4-BE49-F238E27FC236}">
                <a16:creationId xmlns:a16="http://schemas.microsoft.com/office/drawing/2014/main" id="{2CC18E73-53FD-68F6-E45E-1B5B6BFDF921}"/>
              </a:ext>
            </a:extLst>
          </p:cNvPr>
          <p:cNvSpPr/>
          <p:nvPr/>
        </p:nvSpPr>
        <p:spPr>
          <a:xfrm>
            <a:off x="8198778" y="3472665"/>
            <a:ext cx="359595" cy="482885"/>
          </a:xfrm>
          <a:prstGeom prst="right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Light"/>
              <a:ea typeface="+mn-ea"/>
              <a:cs typeface="+mn-cs"/>
            </a:endParaRPr>
          </a:p>
        </p:txBody>
      </p:sp>
      <p:pic>
        <p:nvPicPr>
          <p:cNvPr id="2" name="Picture 1" descr="Logo&#10;&#10;Description automatically generated">
            <a:extLst>
              <a:ext uri="{FF2B5EF4-FFF2-40B4-BE49-F238E27FC236}">
                <a16:creationId xmlns:a16="http://schemas.microsoft.com/office/drawing/2014/main" id="{F14084C4-B220-6BFE-77C2-3C960BFCDF37}"/>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3" name="Footer Placeholder 3">
            <a:extLst>
              <a:ext uri="{FF2B5EF4-FFF2-40B4-BE49-F238E27FC236}">
                <a16:creationId xmlns:a16="http://schemas.microsoft.com/office/drawing/2014/main" id="{25001FF7-069F-DCA4-8097-811B3C9C50D6}"/>
              </a:ext>
            </a:extLst>
          </p:cNvPr>
          <p:cNvSpPr txBox="1">
            <a:spLocks/>
          </p:cNvSpPr>
          <p:nvPr/>
        </p:nvSpPr>
        <p:spPr>
          <a:xfrm>
            <a:off x="3764280" y="6493510"/>
            <a:ext cx="4114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rPr>
              <a:t>www.upskilpro.com</a:t>
            </a:r>
          </a:p>
        </p:txBody>
      </p:sp>
    </p:spTree>
    <p:extLst>
      <p:ext uri="{BB962C8B-B14F-4D97-AF65-F5344CB8AC3E}">
        <p14:creationId xmlns:p14="http://schemas.microsoft.com/office/powerpoint/2010/main" val="41492010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F3CD965C-7947-FBBB-C5F0-7806EE3D0488}"/>
              </a:ext>
            </a:extLst>
          </p:cNvPr>
          <p:cNvSpPr txBox="1"/>
          <p:nvPr/>
        </p:nvSpPr>
        <p:spPr>
          <a:xfrm>
            <a:off x="268941" y="207845"/>
            <a:ext cx="9160809" cy="800219"/>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s</a:t>
            </a: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a:t>
            </a:r>
          </a:p>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Lato Light" panose="020F0502020204030203" pitchFamily="34" charset="0"/>
                <a:cs typeface="Poppins" panose="00000500000000000000" pitchFamily="2" charset="0"/>
              </a:rPr>
              <a:t>Directional Summary</a:t>
            </a:r>
          </a:p>
        </p:txBody>
      </p:sp>
      <p:pic>
        <p:nvPicPr>
          <p:cNvPr id="25" name="Picture 24" descr="Logo&#10;&#10;Description automatically generated">
            <a:extLst>
              <a:ext uri="{FF2B5EF4-FFF2-40B4-BE49-F238E27FC236}">
                <a16:creationId xmlns:a16="http://schemas.microsoft.com/office/drawing/2014/main" id="{511BC1C6-48F0-F517-3930-796B5AA3FE6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26" name="Footer Placeholder 3">
            <a:extLst>
              <a:ext uri="{FF2B5EF4-FFF2-40B4-BE49-F238E27FC236}">
                <a16:creationId xmlns:a16="http://schemas.microsoft.com/office/drawing/2014/main" id="{2F7D630F-B07A-34CE-CF91-F2B318CB81D5}"/>
              </a:ext>
            </a:extLst>
          </p:cNvPr>
          <p:cNvSpPr>
            <a:spLocks noGrp="1"/>
          </p:cNvSpPr>
          <p:nvPr>
            <p:ph type="ftr" sz="quarter" idx="11"/>
          </p:nvPr>
        </p:nvSpPr>
        <p:spPr>
          <a:xfrm>
            <a:off x="403860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tint val="75000"/>
                  </a:prstClr>
                </a:solidFill>
                <a:effectLst/>
                <a:uLnTx/>
                <a:uFillTx/>
                <a:latin typeface="Lato Light"/>
                <a:ea typeface="+mn-ea"/>
                <a:cs typeface="+mn-cs"/>
              </a:rPr>
              <a:t>www.upskilpro.com</a:t>
            </a:r>
          </a:p>
        </p:txBody>
      </p:sp>
      <p:sp>
        <p:nvSpPr>
          <p:cNvPr id="8" name="TextBox 7">
            <a:extLst>
              <a:ext uri="{FF2B5EF4-FFF2-40B4-BE49-F238E27FC236}">
                <a16:creationId xmlns:a16="http://schemas.microsoft.com/office/drawing/2014/main" id="{1DF92EE4-D980-C071-05F3-C8033AEBB183}"/>
              </a:ext>
            </a:extLst>
          </p:cNvPr>
          <p:cNvSpPr txBox="1"/>
          <p:nvPr/>
        </p:nvSpPr>
        <p:spPr>
          <a:xfrm>
            <a:off x="6898985" y="2786930"/>
            <a:ext cx="5153026" cy="866199"/>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Poppins" panose="00000500000000000000" pitchFamily="2" charset="0"/>
                <a:ea typeface="Calibri" panose="020F0502020204030204" pitchFamily="34" charset="0"/>
                <a:cs typeface="Poppins" panose="00000500000000000000" pitchFamily="2" charset="0"/>
              </a:rPr>
              <a:t>Trade Marketing Plans </a:t>
            </a:r>
            <a:r>
              <a:rPr kumimoji="0" lang="en-GB" sz="1200" b="0" i="0" u="none" strike="noStrike" kern="1200" cap="none" spc="0" normalizeH="0" baseline="0" noProof="0" dirty="0">
                <a:ln>
                  <a:noFill/>
                </a:ln>
                <a:solidFill>
                  <a:prstClr val="black"/>
                </a:solidFill>
                <a:effectLst/>
                <a:uLnTx/>
                <a:uFillTx/>
                <a:latin typeface="Lato Light"/>
                <a:ea typeface="Calibri" panose="020F0502020204030204" pitchFamily="34" charset="0"/>
                <a:cs typeface="Latha" panose="020B0604020202020204" pitchFamily="34" charset="0"/>
              </a:rPr>
              <a:t>set the tone for ensuring that the marketing objectives are translated into engaging the customer at the category or in specific events , this is the part where the actual engagement between company , customer , brand and category takes place.</a:t>
            </a:r>
          </a:p>
        </p:txBody>
      </p:sp>
      <p:sp>
        <p:nvSpPr>
          <p:cNvPr id="2" name="Rectangle 1">
            <a:extLst>
              <a:ext uri="{FF2B5EF4-FFF2-40B4-BE49-F238E27FC236}">
                <a16:creationId xmlns:a16="http://schemas.microsoft.com/office/drawing/2014/main" id="{2BFB18C1-3BB9-FEF9-1469-B77296BECE5D}"/>
              </a:ext>
            </a:extLst>
          </p:cNvPr>
          <p:cNvSpPr/>
          <p:nvPr/>
        </p:nvSpPr>
        <p:spPr>
          <a:xfrm>
            <a:off x="0" y="2171700"/>
            <a:ext cx="6877050" cy="2181225"/>
          </a:xfrm>
          <a:prstGeom prst="rect">
            <a:avLst/>
          </a:prstGeom>
          <a:solidFill>
            <a:srgbClr val="3984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Light"/>
              <a:ea typeface="+mn-ea"/>
              <a:cs typeface="+mn-cs"/>
            </a:endParaRPr>
          </a:p>
        </p:txBody>
      </p:sp>
    </p:spTree>
    <p:extLst>
      <p:ext uri="{BB962C8B-B14F-4D97-AF65-F5344CB8AC3E}">
        <p14:creationId xmlns:p14="http://schemas.microsoft.com/office/powerpoint/2010/main" val="38036992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EE9ED35-A711-BA9E-E39A-85F955CBBB5F}"/>
              </a:ext>
            </a:extLst>
          </p:cNvPr>
          <p:cNvSpPr txBox="1"/>
          <p:nvPr/>
        </p:nvSpPr>
        <p:spPr>
          <a:xfrm rot="16200000">
            <a:off x="-2450014" y="2921347"/>
            <a:ext cx="6413314" cy="861774"/>
          </a:xfrm>
          <a:prstGeom prst="rect">
            <a:avLst/>
          </a:prstGeom>
          <a:solidFill>
            <a:schemeClr val="bg1"/>
          </a:solidFill>
          <a:ln>
            <a:noFill/>
          </a:ln>
        </p:spPr>
        <p:txBody>
          <a:bodyPr wrap="square" rtlCol="0">
            <a:spAutoFit/>
          </a:bodyPr>
          <a:lstStyle/>
          <a:p>
            <a:pPr defTabSz="435356">
              <a:defRPr/>
            </a:pPr>
            <a:r>
              <a:rPr lang="en-GB" sz="3200" b="1" dirty="0">
                <a:solidFill>
                  <a:srgbClr val="2A4A8B"/>
                </a:solidFill>
                <a:latin typeface="Poppins" panose="00000500000000000000" pitchFamily="2" charset="0"/>
                <a:cs typeface="Poppins" panose="00000500000000000000" pitchFamily="2" charset="0"/>
              </a:rPr>
              <a:t>Trade Marketing Plan</a:t>
            </a:r>
            <a:r>
              <a:rPr lang="en-GB" sz="3600" b="1" dirty="0">
                <a:solidFill>
                  <a:srgbClr val="2A4A8B"/>
                </a:solidFill>
                <a:latin typeface="Poppins" panose="00000500000000000000" pitchFamily="2" charset="0"/>
                <a:cs typeface="Poppins" panose="00000500000000000000" pitchFamily="2" charset="0"/>
              </a:rPr>
              <a:t>.</a:t>
            </a:r>
          </a:p>
          <a:p>
            <a:pPr defTabSz="435356">
              <a:defRPr/>
            </a:pPr>
            <a:endParaRPr lang="en-GB" sz="1400" dirty="0">
              <a:effectLst/>
              <a:latin typeface="Poppins" panose="00000500000000000000" pitchFamily="2" charset="0"/>
              <a:ea typeface="Lato Light" panose="020F0502020204030203" pitchFamily="34" charset="0"/>
              <a:cs typeface="Poppins" panose="00000500000000000000" pitchFamily="2" charset="0"/>
            </a:endParaRPr>
          </a:p>
        </p:txBody>
      </p:sp>
      <p:pic>
        <p:nvPicPr>
          <p:cNvPr id="3" name="Picture 2" descr="Logo&#10;&#10;Description automatically generated">
            <a:extLst>
              <a:ext uri="{FF2B5EF4-FFF2-40B4-BE49-F238E27FC236}">
                <a16:creationId xmlns:a16="http://schemas.microsoft.com/office/drawing/2014/main" id="{CB0D4F01-1329-E701-D2CA-21E2F882FE4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4" name="Footer Placeholder 3">
            <a:extLst>
              <a:ext uri="{FF2B5EF4-FFF2-40B4-BE49-F238E27FC236}">
                <a16:creationId xmlns:a16="http://schemas.microsoft.com/office/drawing/2014/main" id="{959F28D7-0474-DDC6-62BB-3F0A163E9213}"/>
              </a:ext>
            </a:extLst>
          </p:cNvPr>
          <p:cNvSpPr>
            <a:spLocks noGrp="1"/>
          </p:cNvSpPr>
          <p:nvPr>
            <p:ph type="ftr" sz="quarter" idx="11"/>
          </p:nvPr>
        </p:nvSpPr>
        <p:spPr>
          <a:xfrm>
            <a:off x="4038600" y="6447356"/>
            <a:ext cx="4114800" cy="365125"/>
          </a:xfrm>
        </p:spPr>
        <p:txBody>
          <a:bodyPr/>
          <a:lstStyle/>
          <a:p>
            <a:r>
              <a:rPr lang="en-GB" sz="1000" dirty="0"/>
              <a:t>www.upskilpro.com</a:t>
            </a:r>
          </a:p>
        </p:txBody>
      </p:sp>
      <p:graphicFrame>
        <p:nvGraphicFramePr>
          <p:cNvPr id="7" name="Table 5">
            <a:extLst>
              <a:ext uri="{FF2B5EF4-FFF2-40B4-BE49-F238E27FC236}">
                <a16:creationId xmlns:a16="http://schemas.microsoft.com/office/drawing/2014/main" id="{69CCC913-66C2-E876-7694-90092512E8D5}"/>
              </a:ext>
            </a:extLst>
          </p:cNvPr>
          <p:cNvGraphicFramePr>
            <a:graphicFrameLocks noGrp="1"/>
          </p:cNvGraphicFramePr>
          <p:nvPr>
            <p:extLst>
              <p:ext uri="{D42A27DB-BD31-4B8C-83A1-F6EECF244321}">
                <p14:modId xmlns:p14="http://schemas.microsoft.com/office/powerpoint/2010/main" val="2523602469"/>
              </p:ext>
            </p:extLst>
          </p:nvPr>
        </p:nvGraphicFramePr>
        <p:xfrm>
          <a:off x="3267384" y="59282"/>
          <a:ext cx="5497140" cy="6885696"/>
        </p:xfrm>
        <a:graphic>
          <a:graphicData uri="http://schemas.openxmlformats.org/drawingml/2006/table">
            <a:tbl>
              <a:tblPr firstRow="1" bandRow="1">
                <a:tableStyleId>{5C22544A-7EE6-4342-B048-85BDC9FD1C3A}</a:tableStyleId>
              </a:tblPr>
              <a:tblGrid>
                <a:gridCol w="1147737">
                  <a:extLst>
                    <a:ext uri="{9D8B030D-6E8A-4147-A177-3AD203B41FA5}">
                      <a16:colId xmlns:a16="http://schemas.microsoft.com/office/drawing/2014/main" val="250726202"/>
                    </a:ext>
                  </a:extLst>
                </a:gridCol>
                <a:gridCol w="3314161">
                  <a:extLst>
                    <a:ext uri="{9D8B030D-6E8A-4147-A177-3AD203B41FA5}">
                      <a16:colId xmlns:a16="http://schemas.microsoft.com/office/drawing/2014/main" val="2361609606"/>
                    </a:ext>
                  </a:extLst>
                </a:gridCol>
                <a:gridCol w="1035242">
                  <a:extLst>
                    <a:ext uri="{9D8B030D-6E8A-4147-A177-3AD203B41FA5}">
                      <a16:colId xmlns:a16="http://schemas.microsoft.com/office/drawing/2014/main" val="4003720094"/>
                    </a:ext>
                  </a:extLst>
                </a:gridCol>
              </a:tblGrid>
              <a:tr h="302016">
                <a:tc gridSpan="2">
                  <a:txBody>
                    <a:bodyPr/>
                    <a:lstStyle/>
                    <a:p>
                      <a:r>
                        <a:rPr lang="en-GB" sz="1200" dirty="0"/>
                        <a:t>Executive Summary </a:t>
                      </a:r>
                    </a:p>
                  </a:txBody>
                  <a:tcPr>
                    <a:solidFill>
                      <a:srgbClr val="DB5000"/>
                    </a:solidFill>
                  </a:tcPr>
                </a:tc>
                <a:tc hMerge="1">
                  <a:txBody>
                    <a:bodyPr/>
                    <a:lstStyle/>
                    <a:p>
                      <a:endParaRPr lang="en-GB" dirty="0"/>
                    </a:p>
                  </a:txBody>
                  <a:tcPr>
                    <a:solidFill>
                      <a:srgbClr val="DB5000"/>
                    </a:solidFill>
                  </a:tcPr>
                </a:tc>
                <a:tc>
                  <a:txBody>
                    <a:bodyPr/>
                    <a:lstStyle/>
                    <a:p>
                      <a:r>
                        <a:rPr lang="en-GB" sz="1200" dirty="0"/>
                        <a:t>Page No</a:t>
                      </a:r>
                    </a:p>
                  </a:txBody>
                  <a:tcPr>
                    <a:solidFill>
                      <a:srgbClr val="DB5000"/>
                    </a:solidFill>
                  </a:tcPr>
                </a:tc>
                <a:extLst>
                  <a:ext uri="{0D108BD9-81ED-4DB2-BD59-A6C34878D82A}">
                    <a16:rowId xmlns:a16="http://schemas.microsoft.com/office/drawing/2014/main" val="1379040451"/>
                  </a:ext>
                </a:extLst>
              </a:tr>
              <a:tr h="223674">
                <a:tc>
                  <a:txBody>
                    <a:bodyPr/>
                    <a:lstStyle/>
                    <a:p>
                      <a:r>
                        <a:rPr lang="en-GB" sz="1000" b="1" dirty="0">
                          <a:solidFill>
                            <a:schemeClr val="bg1"/>
                          </a:solidFill>
                        </a:rPr>
                        <a:t>1.0</a:t>
                      </a:r>
                    </a:p>
                  </a:txBody>
                  <a:tcPr>
                    <a:solidFill>
                      <a:srgbClr val="3984A3"/>
                    </a:solidFill>
                  </a:tcPr>
                </a:tc>
                <a:tc>
                  <a:txBody>
                    <a:bodyPr/>
                    <a:lstStyle/>
                    <a:p>
                      <a:r>
                        <a:rPr lang="en-GB" sz="1000" b="1" dirty="0">
                          <a:solidFill>
                            <a:schemeClr val="bg1"/>
                          </a:solidFill>
                        </a:rPr>
                        <a:t>Summary </a:t>
                      </a:r>
                    </a:p>
                  </a:txBody>
                  <a:tcPr>
                    <a:solidFill>
                      <a:srgbClr val="3984A3"/>
                    </a:solidFill>
                  </a:tcPr>
                </a:tc>
                <a:tc>
                  <a:txBody>
                    <a:bodyPr/>
                    <a:lstStyle/>
                    <a:p>
                      <a:endParaRPr lang="en-GB" sz="1000"/>
                    </a:p>
                  </a:txBody>
                  <a:tcPr>
                    <a:solidFill>
                      <a:schemeClr val="bg1">
                        <a:lumMod val="95000"/>
                      </a:schemeClr>
                    </a:solidFill>
                  </a:tcPr>
                </a:tc>
                <a:extLst>
                  <a:ext uri="{0D108BD9-81ED-4DB2-BD59-A6C34878D82A}">
                    <a16:rowId xmlns:a16="http://schemas.microsoft.com/office/drawing/2014/main" val="1885371919"/>
                  </a:ext>
                </a:extLst>
              </a:tr>
              <a:tr h="223674">
                <a:tc>
                  <a:txBody>
                    <a:bodyPr/>
                    <a:lstStyle/>
                    <a:p>
                      <a:endParaRPr lang="en-GB" sz="1000" dirty="0">
                        <a:solidFill>
                          <a:schemeClr val="bg1"/>
                        </a:solidFill>
                      </a:endParaRPr>
                    </a:p>
                  </a:txBody>
                  <a:tcPr>
                    <a:solidFill>
                      <a:schemeClr val="bg1"/>
                    </a:solidFill>
                  </a:tcPr>
                </a:tc>
                <a:tc>
                  <a:txBody>
                    <a:bodyPr/>
                    <a:lstStyle/>
                    <a:p>
                      <a:pPr marL="0" lvl="0" indent="0" algn="l" defTabSz="914400" rtl="0" eaLnBrk="1" latinLnBrk="0" hangingPunct="1">
                        <a:buFont typeface="Arial" panose="020B0604020202020204" pitchFamily="34" charset="0"/>
                        <a:buNone/>
                      </a:pPr>
                      <a:r>
                        <a:rPr lang="en-GB" sz="900" kern="1200" dirty="0">
                          <a:solidFill>
                            <a:schemeClr val="tx1">
                              <a:lumMod val="95000"/>
                              <a:lumOff val="5000"/>
                            </a:schemeClr>
                          </a:solidFill>
                          <a:latin typeface="+mn-lt"/>
                          <a:ea typeface="+mn-ea"/>
                          <a:cs typeface="+mn-cs"/>
                        </a:rPr>
                        <a:t>Corporate Objectives and Mission Statement</a:t>
                      </a:r>
                    </a:p>
                  </a:txBody>
                  <a:tcPr>
                    <a:solidFill>
                      <a:srgbClr val="99C8DB"/>
                    </a:solidFill>
                  </a:tcPr>
                </a:tc>
                <a:tc>
                  <a:txBody>
                    <a:bodyPr/>
                    <a:lstStyle/>
                    <a:p>
                      <a:endParaRPr lang="en-GB" sz="1000" dirty="0"/>
                    </a:p>
                  </a:txBody>
                  <a:tcPr>
                    <a:solidFill>
                      <a:schemeClr val="bg1">
                        <a:lumMod val="95000"/>
                      </a:schemeClr>
                    </a:solidFill>
                  </a:tcPr>
                </a:tc>
                <a:extLst>
                  <a:ext uri="{0D108BD9-81ED-4DB2-BD59-A6C34878D82A}">
                    <a16:rowId xmlns:a16="http://schemas.microsoft.com/office/drawing/2014/main" val="1142382326"/>
                  </a:ext>
                </a:extLst>
              </a:tr>
              <a:tr h="223674">
                <a:tc>
                  <a:txBody>
                    <a:bodyPr/>
                    <a:lstStyle/>
                    <a:p>
                      <a:endParaRPr lang="en-GB" sz="1000" dirty="0">
                        <a:solidFill>
                          <a:schemeClr val="bg1"/>
                        </a:solidFill>
                      </a:endParaRPr>
                    </a:p>
                  </a:txBody>
                  <a:tcPr>
                    <a:solidFill>
                      <a:schemeClr val="bg1"/>
                    </a:solidFill>
                  </a:tcPr>
                </a:tc>
                <a:tc>
                  <a:txBody>
                    <a:bodyPr/>
                    <a:lstStyle/>
                    <a:p>
                      <a:pPr marL="0" lvl="0" indent="0" algn="l" defTabSz="914400" rtl="0" eaLnBrk="1" latinLnBrk="0" hangingPunct="1">
                        <a:buFont typeface="Arial" panose="020B0604020202020204" pitchFamily="34" charset="0"/>
                        <a:buNone/>
                      </a:pPr>
                      <a:r>
                        <a:rPr lang="en-GB" sz="900" kern="1200" dirty="0">
                          <a:solidFill>
                            <a:schemeClr val="tx1">
                              <a:lumMod val="95000"/>
                              <a:lumOff val="5000"/>
                            </a:schemeClr>
                          </a:solidFill>
                          <a:latin typeface="+mn-lt"/>
                          <a:ea typeface="+mn-ea"/>
                          <a:cs typeface="+mn-cs"/>
                        </a:rPr>
                        <a:t>Market specifics</a:t>
                      </a:r>
                    </a:p>
                  </a:txBody>
                  <a:tcPr>
                    <a:solidFill>
                      <a:srgbClr val="99C8DB"/>
                    </a:solidFill>
                  </a:tcPr>
                </a:tc>
                <a:tc>
                  <a:txBody>
                    <a:bodyPr/>
                    <a:lstStyle/>
                    <a:p>
                      <a:endParaRPr lang="en-GB" sz="1000"/>
                    </a:p>
                  </a:txBody>
                  <a:tcPr>
                    <a:solidFill>
                      <a:schemeClr val="bg1">
                        <a:lumMod val="95000"/>
                      </a:schemeClr>
                    </a:solidFill>
                  </a:tcPr>
                </a:tc>
                <a:extLst>
                  <a:ext uri="{0D108BD9-81ED-4DB2-BD59-A6C34878D82A}">
                    <a16:rowId xmlns:a16="http://schemas.microsoft.com/office/drawing/2014/main" val="1303977073"/>
                  </a:ext>
                </a:extLst>
              </a:tr>
              <a:tr h="223674">
                <a:tc>
                  <a:txBody>
                    <a:bodyPr/>
                    <a:lstStyle/>
                    <a:p>
                      <a:endParaRPr lang="en-GB" sz="1000" dirty="0">
                        <a:solidFill>
                          <a:schemeClr val="bg1"/>
                        </a:solidFill>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dirty="0">
                          <a:solidFill>
                            <a:schemeClr val="tx1">
                              <a:lumMod val="95000"/>
                              <a:lumOff val="5000"/>
                            </a:schemeClr>
                          </a:solidFill>
                          <a:latin typeface="+mn-lt"/>
                          <a:ea typeface="+mn-ea"/>
                          <a:cs typeface="+mn-cs"/>
                        </a:rPr>
                        <a:t>Category overview </a:t>
                      </a:r>
                    </a:p>
                  </a:txBody>
                  <a:tcPr>
                    <a:solidFill>
                      <a:srgbClr val="99C8DB"/>
                    </a:solidFill>
                  </a:tcPr>
                </a:tc>
                <a:tc>
                  <a:txBody>
                    <a:bodyPr/>
                    <a:lstStyle/>
                    <a:p>
                      <a:endParaRPr lang="en-GB" sz="1000" dirty="0"/>
                    </a:p>
                  </a:txBody>
                  <a:tcPr>
                    <a:solidFill>
                      <a:schemeClr val="bg1">
                        <a:lumMod val="95000"/>
                      </a:schemeClr>
                    </a:solidFill>
                  </a:tcPr>
                </a:tc>
                <a:extLst>
                  <a:ext uri="{0D108BD9-81ED-4DB2-BD59-A6C34878D82A}">
                    <a16:rowId xmlns:a16="http://schemas.microsoft.com/office/drawing/2014/main" val="102438454"/>
                  </a:ext>
                </a:extLst>
              </a:tr>
              <a:tr h="223674">
                <a:tc>
                  <a:txBody>
                    <a:bodyPr/>
                    <a:lstStyle/>
                    <a:p>
                      <a:endParaRPr lang="en-GB" sz="1000" dirty="0">
                        <a:solidFill>
                          <a:schemeClr val="bg1"/>
                        </a:solidFill>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dirty="0">
                          <a:solidFill>
                            <a:schemeClr val="tx1">
                              <a:lumMod val="95000"/>
                              <a:lumOff val="5000"/>
                            </a:schemeClr>
                          </a:solidFill>
                          <a:latin typeface="+mn-lt"/>
                          <a:ea typeface="+mn-ea"/>
                          <a:cs typeface="+mn-cs"/>
                        </a:rPr>
                        <a:t>Customer overview </a:t>
                      </a:r>
                    </a:p>
                  </a:txBody>
                  <a:tcPr>
                    <a:solidFill>
                      <a:srgbClr val="99C8DB"/>
                    </a:solidFill>
                  </a:tcPr>
                </a:tc>
                <a:tc>
                  <a:txBody>
                    <a:bodyPr/>
                    <a:lstStyle/>
                    <a:p>
                      <a:endParaRPr lang="en-GB" sz="1000"/>
                    </a:p>
                  </a:txBody>
                  <a:tcPr>
                    <a:solidFill>
                      <a:schemeClr val="bg1">
                        <a:lumMod val="95000"/>
                      </a:schemeClr>
                    </a:solidFill>
                  </a:tcPr>
                </a:tc>
                <a:extLst>
                  <a:ext uri="{0D108BD9-81ED-4DB2-BD59-A6C34878D82A}">
                    <a16:rowId xmlns:a16="http://schemas.microsoft.com/office/drawing/2014/main" val="4098471869"/>
                  </a:ext>
                </a:extLst>
              </a:tr>
              <a:tr h="223674">
                <a:tc>
                  <a:txBody>
                    <a:bodyPr/>
                    <a:lstStyle/>
                    <a:p>
                      <a:endParaRPr lang="en-GB" sz="1000" dirty="0">
                        <a:solidFill>
                          <a:schemeClr val="bg1"/>
                        </a:solidFill>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dirty="0">
                          <a:solidFill>
                            <a:schemeClr val="tx1">
                              <a:lumMod val="95000"/>
                              <a:lumOff val="5000"/>
                            </a:schemeClr>
                          </a:solidFill>
                          <a:latin typeface="+mn-lt"/>
                          <a:ea typeface="+mn-ea"/>
                          <a:cs typeface="+mn-cs"/>
                        </a:rPr>
                        <a:t>Channel Overview </a:t>
                      </a:r>
                    </a:p>
                  </a:txBody>
                  <a:tcPr>
                    <a:solidFill>
                      <a:srgbClr val="99C8DB"/>
                    </a:solidFill>
                  </a:tcPr>
                </a:tc>
                <a:tc>
                  <a:txBody>
                    <a:bodyPr/>
                    <a:lstStyle/>
                    <a:p>
                      <a:endParaRPr lang="en-GB" sz="1000" dirty="0"/>
                    </a:p>
                  </a:txBody>
                  <a:tcPr>
                    <a:solidFill>
                      <a:schemeClr val="bg1">
                        <a:lumMod val="95000"/>
                      </a:schemeClr>
                    </a:solidFill>
                  </a:tcPr>
                </a:tc>
                <a:extLst>
                  <a:ext uri="{0D108BD9-81ED-4DB2-BD59-A6C34878D82A}">
                    <a16:rowId xmlns:a16="http://schemas.microsoft.com/office/drawing/2014/main" val="790187094"/>
                  </a:ext>
                </a:extLst>
              </a:tr>
              <a:tr h="223674">
                <a:tc>
                  <a:txBody>
                    <a:bodyPr/>
                    <a:lstStyle/>
                    <a:p>
                      <a:endParaRPr lang="en-GB" sz="1000" dirty="0">
                        <a:solidFill>
                          <a:schemeClr val="bg1"/>
                        </a:solidFill>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dirty="0">
                          <a:solidFill>
                            <a:schemeClr val="tx1">
                              <a:lumMod val="95000"/>
                              <a:lumOff val="5000"/>
                            </a:schemeClr>
                          </a:solidFill>
                          <a:latin typeface="+mn-lt"/>
                          <a:ea typeface="+mn-ea"/>
                          <a:cs typeface="+mn-cs"/>
                        </a:rPr>
                        <a:t>Key Opportunities identified (B2B &amp; B2C) </a:t>
                      </a:r>
                    </a:p>
                  </a:txBody>
                  <a:tcPr>
                    <a:solidFill>
                      <a:srgbClr val="99C8DB"/>
                    </a:solidFill>
                  </a:tcPr>
                </a:tc>
                <a:tc>
                  <a:txBody>
                    <a:bodyPr/>
                    <a:lstStyle/>
                    <a:p>
                      <a:endParaRPr lang="en-GB" sz="1000" dirty="0"/>
                    </a:p>
                  </a:txBody>
                  <a:tcPr>
                    <a:solidFill>
                      <a:schemeClr val="bg1">
                        <a:lumMod val="95000"/>
                      </a:schemeClr>
                    </a:solidFill>
                  </a:tcPr>
                </a:tc>
                <a:extLst>
                  <a:ext uri="{0D108BD9-81ED-4DB2-BD59-A6C34878D82A}">
                    <a16:rowId xmlns:a16="http://schemas.microsoft.com/office/drawing/2014/main" val="3227244981"/>
                  </a:ext>
                </a:extLst>
              </a:tr>
              <a:tr h="223674">
                <a:tc>
                  <a:txBody>
                    <a:bodyPr/>
                    <a:lstStyle/>
                    <a:p>
                      <a:endParaRPr lang="en-GB" sz="1000" dirty="0">
                        <a:solidFill>
                          <a:schemeClr val="bg1"/>
                        </a:solidFill>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dirty="0">
                          <a:solidFill>
                            <a:schemeClr val="tx1">
                              <a:lumMod val="95000"/>
                              <a:lumOff val="5000"/>
                            </a:schemeClr>
                          </a:solidFill>
                          <a:latin typeface="+mn-lt"/>
                          <a:ea typeface="+mn-ea"/>
                          <a:cs typeface="+mn-cs"/>
                        </a:rPr>
                        <a:t>Priority Categories and Brands</a:t>
                      </a:r>
                    </a:p>
                  </a:txBody>
                  <a:tcPr>
                    <a:solidFill>
                      <a:srgbClr val="99C8DB"/>
                    </a:solidFill>
                  </a:tcPr>
                </a:tc>
                <a:tc>
                  <a:txBody>
                    <a:bodyPr/>
                    <a:lstStyle/>
                    <a:p>
                      <a:endParaRPr lang="en-GB" sz="1000" dirty="0"/>
                    </a:p>
                  </a:txBody>
                  <a:tcPr>
                    <a:solidFill>
                      <a:schemeClr val="bg1">
                        <a:lumMod val="95000"/>
                      </a:schemeClr>
                    </a:solidFill>
                  </a:tcPr>
                </a:tc>
                <a:extLst>
                  <a:ext uri="{0D108BD9-81ED-4DB2-BD59-A6C34878D82A}">
                    <a16:rowId xmlns:a16="http://schemas.microsoft.com/office/drawing/2014/main" val="4256631578"/>
                  </a:ext>
                </a:extLst>
              </a:tr>
              <a:tr h="223674">
                <a:tc>
                  <a:txBody>
                    <a:bodyPr/>
                    <a:lstStyle/>
                    <a:p>
                      <a:r>
                        <a:rPr lang="en-GB" sz="1000" dirty="0">
                          <a:solidFill>
                            <a:schemeClr val="bg1"/>
                          </a:solidFill>
                        </a:rPr>
                        <a:t>2.0</a:t>
                      </a:r>
                    </a:p>
                  </a:txBody>
                  <a:tcPr>
                    <a:solidFill>
                      <a:srgbClr val="3984A3"/>
                    </a:solidFill>
                  </a:tcPr>
                </a:tc>
                <a:tc>
                  <a:txBody>
                    <a:bodyPr/>
                    <a:lstStyle/>
                    <a:p>
                      <a:r>
                        <a:rPr lang="en-GB" sz="1000" b="1" dirty="0">
                          <a:solidFill>
                            <a:schemeClr val="bg1"/>
                          </a:solidFill>
                        </a:rPr>
                        <a:t>Analysis</a:t>
                      </a:r>
                    </a:p>
                  </a:txBody>
                  <a:tcPr>
                    <a:solidFill>
                      <a:srgbClr val="3984A3"/>
                    </a:solidFill>
                  </a:tcPr>
                </a:tc>
                <a:tc>
                  <a:txBody>
                    <a:bodyPr/>
                    <a:lstStyle/>
                    <a:p>
                      <a:endParaRPr lang="en-GB" sz="1000" dirty="0"/>
                    </a:p>
                  </a:txBody>
                  <a:tcPr>
                    <a:solidFill>
                      <a:schemeClr val="bg1">
                        <a:lumMod val="95000"/>
                      </a:schemeClr>
                    </a:solidFill>
                  </a:tcPr>
                </a:tc>
                <a:extLst>
                  <a:ext uri="{0D108BD9-81ED-4DB2-BD59-A6C34878D82A}">
                    <a16:rowId xmlns:a16="http://schemas.microsoft.com/office/drawing/2014/main" val="225568823"/>
                  </a:ext>
                </a:extLst>
              </a:tr>
              <a:tr h="223674">
                <a:tc>
                  <a:txBody>
                    <a:bodyPr/>
                    <a:lstStyle/>
                    <a:p>
                      <a:endParaRPr lang="en-GB" sz="1000" dirty="0">
                        <a:solidFill>
                          <a:schemeClr val="bg1"/>
                        </a:solidFill>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rPr>
                        <a:t>Market sizing / Channel Sizing </a:t>
                      </a:r>
                    </a:p>
                  </a:txBody>
                  <a:tcPr>
                    <a:solidFill>
                      <a:srgbClr val="99C8DB"/>
                    </a:solidFill>
                  </a:tcPr>
                </a:tc>
                <a:tc>
                  <a:txBody>
                    <a:bodyPr/>
                    <a:lstStyle/>
                    <a:p>
                      <a:endParaRPr lang="en-GB" sz="1000" dirty="0"/>
                    </a:p>
                  </a:txBody>
                  <a:tcPr>
                    <a:solidFill>
                      <a:schemeClr val="bg1">
                        <a:lumMod val="95000"/>
                      </a:schemeClr>
                    </a:solidFill>
                  </a:tcPr>
                </a:tc>
                <a:extLst>
                  <a:ext uri="{0D108BD9-81ED-4DB2-BD59-A6C34878D82A}">
                    <a16:rowId xmlns:a16="http://schemas.microsoft.com/office/drawing/2014/main" val="2400301202"/>
                  </a:ext>
                </a:extLst>
              </a:tr>
              <a:tr h="223674">
                <a:tc>
                  <a:txBody>
                    <a:bodyPr/>
                    <a:lstStyle/>
                    <a:p>
                      <a:endParaRPr lang="en-GB" sz="1000" dirty="0">
                        <a:solidFill>
                          <a:schemeClr val="bg1"/>
                        </a:solidFill>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rPr>
                        <a:t>Key Channels and Customers </a:t>
                      </a:r>
                    </a:p>
                  </a:txBody>
                  <a:tcPr>
                    <a:solidFill>
                      <a:srgbClr val="99C8DB"/>
                    </a:solidFill>
                  </a:tcPr>
                </a:tc>
                <a:tc>
                  <a:txBody>
                    <a:bodyPr/>
                    <a:lstStyle/>
                    <a:p>
                      <a:endParaRPr lang="en-GB" sz="1000" dirty="0"/>
                    </a:p>
                  </a:txBody>
                  <a:tcPr>
                    <a:solidFill>
                      <a:schemeClr val="bg1">
                        <a:lumMod val="95000"/>
                      </a:schemeClr>
                    </a:solidFill>
                  </a:tcPr>
                </a:tc>
                <a:extLst>
                  <a:ext uri="{0D108BD9-81ED-4DB2-BD59-A6C34878D82A}">
                    <a16:rowId xmlns:a16="http://schemas.microsoft.com/office/drawing/2014/main" val="3162510862"/>
                  </a:ext>
                </a:extLst>
              </a:tr>
              <a:tr h="223674">
                <a:tc>
                  <a:txBody>
                    <a:bodyPr/>
                    <a:lstStyle/>
                    <a:p>
                      <a:endParaRPr lang="en-GB" sz="1000" dirty="0">
                        <a:solidFill>
                          <a:schemeClr val="bg1"/>
                        </a:solidFill>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rPr>
                        <a:t>Competitive analysis </a:t>
                      </a:r>
                    </a:p>
                  </a:txBody>
                  <a:tcPr>
                    <a:solidFill>
                      <a:srgbClr val="99C8DB"/>
                    </a:solidFill>
                  </a:tcPr>
                </a:tc>
                <a:tc>
                  <a:txBody>
                    <a:bodyPr/>
                    <a:lstStyle/>
                    <a:p>
                      <a:endParaRPr lang="en-GB" sz="1000" dirty="0"/>
                    </a:p>
                  </a:txBody>
                  <a:tcPr>
                    <a:solidFill>
                      <a:schemeClr val="bg1">
                        <a:lumMod val="95000"/>
                      </a:schemeClr>
                    </a:solidFill>
                  </a:tcPr>
                </a:tc>
                <a:extLst>
                  <a:ext uri="{0D108BD9-81ED-4DB2-BD59-A6C34878D82A}">
                    <a16:rowId xmlns:a16="http://schemas.microsoft.com/office/drawing/2014/main" val="290474312"/>
                  </a:ext>
                </a:extLst>
              </a:tr>
              <a:tr h="223674">
                <a:tc>
                  <a:txBody>
                    <a:bodyPr/>
                    <a:lstStyle/>
                    <a:p>
                      <a:endParaRPr lang="en-GB" sz="1000" dirty="0">
                        <a:solidFill>
                          <a:schemeClr val="bg1"/>
                        </a:solidFill>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rPr>
                        <a:t>Opportunities and threats</a:t>
                      </a:r>
                    </a:p>
                  </a:txBody>
                  <a:tcPr>
                    <a:solidFill>
                      <a:srgbClr val="99C8DB"/>
                    </a:solidFill>
                  </a:tcPr>
                </a:tc>
                <a:tc>
                  <a:txBody>
                    <a:bodyPr/>
                    <a:lstStyle/>
                    <a:p>
                      <a:endParaRPr lang="en-GB" sz="1000" dirty="0"/>
                    </a:p>
                  </a:txBody>
                  <a:tcPr>
                    <a:solidFill>
                      <a:schemeClr val="bg1">
                        <a:lumMod val="95000"/>
                      </a:schemeClr>
                    </a:solidFill>
                  </a:tcPr>
                </a:tc>
                <a:extLst>
                  <a:ext uri="{0D108BD9-81ED-4DB2-BD59-A6C34878D82A}">
                    <a16:rowId xmlns:a16="http://schemas.microsoft.com/office/drawing/2014/main" val="4191416563"/>
                  </a:ext>
                </a:extLst>
              </a:tr>
              <a:tr h="223674">
                <a:tc>
                  <a:txBody>
                    <a:bodyPr/>
                    <a:lstStyle/>
                    <a:p>
                      <a:r>
                        <a:rPr lang="en-GB" sz="1000" dirty="0">
                          <a:solidFill>
                            <a:schemeClr val="bg1"/>
                          </a:solidFill>
                        </a:rPr>
                        <a:t>3.0</a:t>
                      </a:r>
                    </a:p>
                  </a:txBody>
                  <a:tcPr>
                    <a:solidFill>
                      <a:srgbClr val="3984A3"/>
                    </a:solidFill>
                  </a:tcPr>
                </a:tc>
                <a:tc>
                  <a:txBody>
                    <a:bodyPr/>
                    <a:lstStyle/>
                    <a:p>
                      <a:r>
                        <a:rPr lang="en-GB" sz="1000" dirty="0">
                          <a:solidFill>
                            <a:schemeClr val="bg1"/>
                          </a:solidFill>
                        </a:rPr>
                        <a:t>Resources</a:t>
                      </a:r>
                    </a:p>
                  </a:txBody>
                  <a:tcPr>
                    <a:solidFill>
                      <a:srgbClr val="3984A3"/>
                    </a:solidFill>
                  </a:tcPr>
                </a:tc>
                <a:tc>
                  <a:txBody>
                    <a:bodyPr/>
                    <a:lstStyle/>
                    <a:p>
                      <a:endParaRPr lang="en-GB" sz="1000" dirty="0"/>
                    </a:p>
                  </a:txBody>
                  <a:tcPr>
                    <a:solidFill>
                      <a:schemeClr val="bg1">
                        <a:lumMod val="95000"/>
                      </a:schemeClr>
                    </a:solidFill>
                  </a:tcPr>
                </a:tc>
                <a:extLst>
                  <a:ext uri="{0D108BD9-81ED-4DB2-BD59-A6C34878D82A}">
                    <a16:rowId xmlns:a16="http://schemas.microsoft.com/office/drawing/2014/main" val="351466958"/>
                  </a:ext>
                </a:extLst>
              </a:tr>
              <a:tr h="223674">
                <a:tc>
                  <a:txBody>
                    <a:bodyPr/>
                    <a:lstStyle/>
                    <a:p>
                      <a:endParaRPr lang="en-GB" sz="1000" dirty="0">
                        <a:solidFill>
                          <a:schemeClr val="bg1"/>
                        </a:solidFill>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rPr>
                        <a:t>Human resource plan </a:t>
                      </a:r>
                    </a:p>
                  </a:txBody>
                  <a:tcPr>
                    <a:solidFill>
                      <a:srgbClr val="99C8DB"/>
                    </a:solidFill>
                  </a:tcPr>
                </a:tc>
                <a:tc>
                  <a:txBody>
                    <a:bodyPr/>
                    <a:lstStyle/>
                    <a:p>
                      <a:endParaRPr lang="en-GB" sz="1000" dirty="0"/>
                    </a:p>
                  </a:txBody>
                  <a:tcPr>
                    <a:solidFill>
                      <a:schemeClr val="bg1">
                        <a:lumMod val="95000"/>
                      </a:schemeClr>
                    </a:solidFill>
                  </a:tcPr>
                </a:tc>
                <a:extLst>
                  <a:ext uri="{0D108BD9-81ED-4DB2-BD59-A6C34878D82A}">
                    <a16:rowId xmlns:a16="http://schemas.microsoft.com/office/drawing/2014/main" val="731083144"/>
                  </a:ext>
                </a:extLst>
              </a:tr>
              <a:tr h="223674">
                <a:tc>
                  <a:txBody>
                    <a:bodyPr/>
                    <a:lstStyle/>
                    <a:p>
                      <a:endParaRPr lang="en-GB" sz="1000" dirty="0">
                        <a:solidFill>
                          <a:schemeClr val="bg1"/>
                        </a:solidFill>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rPr>
                        <a:t>POS Resources</a:t>
                      </a:r>
                    </a:p>
                  </a:txBody>
                  <a:tcPr>
                    <a:solidFill>
                      <a:srgbClr val="99C8DB"/>
                    </a:solidFill>
                  </a:tcPr>
                </a:tc>
                <a:tc>
                  <a:txBody>
                    <a:bodyPr/>
                    <a:lstStyle/>
                    <a:p>
                      <a:endParaRPr lang="en-GB" sz="1000" dirty="0"/>
                    </a:p>
                  </a:txBody>
                  <a:tcPr>
                    <a:solidFill>
                      <a:schemeClr val="bg1">
                        <a:lumMod val="95000"/>
                      </a:schemeClr>
                    </a:solidFill>
                  </a:tcPr>
                </a:tc>
                <a:extLst>
                  <a:ext uri="{0D108BD9-81ED-4DB2-BD59-A6C34878D82A}">
                    <a16:rowId xmlns:a16="http://schemas.microsoft.com/office/drawing/2014/main" val="1451146048"/>
                  </a:ext>
                </a:extLst>
              </a:tr>
              <a:tr h="223674">
                <a:tc>
                  <a:txBody>
                    <a:bodyPr/>
                    <a:lstStyle/>
                    <a:p>
                      <a:endParaRPr lang="en-GB" sz="1000" dirty="0">
                        <a:solidFill>
                          <a:schemeClr val="bg1"/>
                        </a:solidFill>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rPr>
                        <a:t>Investments plan </a:t>
                      </a:r>
                    </a:p>
                  </a:txBody>
                  <a:tcPr>
                    <a:solidFill>
                      <a:srgbClr val="99C8DB"/>
                    </a:solidFill>
                  </a:tcPr>
                </a:tc>
                <a:tc>
                  <a:txBody>
                    <a:bodyPr/>
                    <a:lstStyle/>
                    <a:p>
                      <a:endParaRPr lang="en-GB" sz="1000" dirty="0"/>
                    </a:p>
                  </a:txBody>
                  <a:tcPr>
                    <a:solidFill>
                      <a:schemeClr val="bg1">
                        <a:lumMod val="95000"/>
                      </a:schemeClr>
                    </a:solidFill>
                  </a:tcPr>
                </a:tc>
                <a:extLst>
                  <a:ext uri="{0D108BD9-81ED-4DB2-BD59-A6C34878D82A}">
                    <a16:rowId xmlns:a16="http://schemas.microsoft.com/office/drawing/2014/main" val="3232402442"/>
                  </a:ext>
                </a:extLst>
              </a:tr>
              <a:tr h="223674">
                <a:tc>
                  <a:txBody>
                    <a:bodyPr/>
                    <a:lstStyle/>
                    <a:p>
                      <a:r>
                        <a:rPr lang="en-GB" sz="1000" dirty="0">
                          <a:solidFill>
                            <a:schemeClr val="bg1"/>
                          </a:solidFill>
                        </a:rPr>
                        <a:t>4.0</a:t>
                      </a:r>
                    </a:p>
                  </a:txBody>
                  <a:tcPr>
                    <a:solidFill>
                      <a:srgbClr val="3984A3"/>
                    </a:solidFill>
                  </a:tcPr>
                </a:tc>
                <a:tc>
                  <a:txBody>
                    <a:bodyPr/>
                    <a:lstStyle/>
                    <a:p>
                      <a:r>
                        <a:rPr lang="en-GB" sz="1000" dirty="0">
                          <a:solidFill>
                            <a:schemeClr val="bg1"/>
                          </a:solidFill>
                        </a:rPr>
                        <a:t>Tactics</a:t>
                      </a:r>
                    </a:p>
                  </a:txBody>
                  <a:tcPr>
                    <a:solidFill>
                      <a:srgbClr val="3984A3"/>
                    </a:solidFill>
                  </a:tcPr>
                </a:tc>
                <a:tc>
                  <a:txBody>
                    <a:bodyPr/>
                    <a:lstStyle/>
                    <a:p>
                      <a:endParaRPr lang="en-GB" sz="1000" dirty="0"/>
                    </a:p>
                  </a:txBody>
                  <a:tcPr>
                    <a:solidFill>
                      <a:schemeClr val="bg1">
                        <a:lumMod val="95000"/>
                      </a:schemeClr>
                    </a:solidFill>
                  </a:tcPr>
                </a:tc>
                <a:extLst>
                  <a:ext uri="{0D108BD9-81ED-4DB2-BD59-A6C34878D82A}">
                    <a16:rowId xmlns:a16="http://schemas.microsoft.com/office/drawing/2014/main" val="701312479"/>
                  </a:ext>
                </a:extLst>
              </a:tr>
              <a:tr h="223674">
                <a:tc>
                  <a:txBody>
                    <a:bodyPr/>
                    <a:lstStyle/>
                    <a:p>
                      <a:endParaRPr lang="en-GB" sz="1000" dirty="0">
                        <a:solidFill>
                          <a:schemeClr val="bg1"/>
                        </a:solidFill>
                      </a:endParaRPr>
                    </a:p>
                  </a:txBody>
                  <a:tcPr>
                    <a:solidFill>
                      <a:schemeClr val="bg1"/>
                    </a:solidFill>
                  </a:tcPr>
                </a:tc>
                <a:tc>
                  <a:txBody>
                    <a:bodyPr/>
                    <a:lstStyle/>
                    <a:p>
                      <a:r>
                        <a:rPr lang="en-GB" sz="900" dirty="0">
                          <a:solidFill>
                            <a:schemeClr val="tx1">
                              <a:lumMod val="75000"/>
                              <a:lumOff val="25000"/>
                            </a:schemeClr>
                          </a:solidFill>
                        </a:rPr>
                        <a:t>Brands channels and tactics </a:t>
                      </a:r>
                      <a:endParaRPr lang="en-GB" sz="900" dirty="0">
                        <a:solidFill>
                          <a:schemeClr val="tx1">
                            <a:lumMod val="95000"/>
                            <a:lumOff val="5000"/>
                          </a:schemeClr>
                        </a:solidFill>
                      </a:endParaRPr>
                    </a:p>
                  </a:txBody>
                  <a:tcPr>
                    <a:solidFill>
                      <a:srgbClr val="99C8DB"/>
                    </a:solidFill>
                  </a:tcPr>
                </a:tc>
                <a:tc>
                  <a:txBody>
                    <a:bodyPr/>
                    <a:lstStyle/>
                    <a:p>
                      <a:endParaRPr lang="en-GB" sz="1000" dirty="0"/>
                    </a:p>
                  </a:txBody>
                  <a:tcPr>
                    <a:solidFill>
                      <a:schemeClr val="bg1">
                        <a:lumMod val="95000"/>
                      </a:schemeClr>
                    </a:solidFill>
                  </a:tcPr>
                </a:tc>
                <a:extLst>
                  <a:ext uri="{0D108BD9-81ED-4DB2-BD59-A6C34878D82A}">
                    <a16:rowId xmlns:a16="http://schemas.microsoft.com/office/drawing/2014/main" val="36304355"/>
                  </a:ext>
                </a:extLst>
              </a:tr>
              <a:tr h="223674">
                <a:tc>
                  <a:txBody>
                    <a:bodyPr/>
                    <a:lstStyle/>
                    <a:p>
                      <a:endParaRPr lang="en-GB" sz="1000" dirty="0">
                        <a:solidFill>
                          <a:schemeClr val="bg1"/>
                        </a:solidFill>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solidFill>
                            <a:schemeClr val="tx1">
                              <a:lumMod val="75000"/>
                              <a:lumOff val="25000"/>
                            </a:schemeClr>
                          </a:solidFill>
                        </a:rPr>
                        <a:t>Branding Plans</a:t>
                      </a:r>
                      <a:endParaRPr lang="en-GB" sz="900" dirty="0">
                        <a:solidFill>
                          <a:schemeClr val="tx1">
                            <a:lumMod val="95000"/>
                            <a:lumOff val="5000"/>
                          </a:schemeClr>
                        </a:solidFill>
                      </a:endParaRPr>
                    </a:p>
                  </a:txBody>
                  <a:tcPr>
                    <a:solidFill>
                      <a:srgbClr val="99C8DB"/>
                    </a:solidFill>
                  </a:tcPr>
                </a:tc>
                <a:tc>
                  <a:txBody>
                    <a:bodyPr/>
                    <a:lstStyle/>
                    <a:p>
                      <a:endParaRPr lang="en-GB" sz="1000" dirty="0"/>
                    </a:p>
                  </a:txBody>
                  <a:tcPr>
                    <a:solidFill>
                      <a:schemeClr val="bg1">
                        <a:lumMod val="95000"/>
                      </a:schemeClr>
                    </a:solidFill>
                  </a:tcPr>
                </a:tc>
                <a:extLst>
                  <a:ext uri="{0D108BD9-81ED-4DB2-BD59-A6C34878D82A}">
                    <a16:rowId xmlns:a16="http://schemas.microsoft.com/office/drawing/2014/main" val="3150084974"/>
                  </a:ext>
                </a:extLst>
              </a:tr>
              <a:tr h="223674">
                <a:tc>
                  <a:txBody>
                    <a:bodyPr/>
                    <a:lstStyle/>
                    <a:p>
                      <a:endParaRPr lang="en-GB" sz="1000" dirty="0">
                        <a:solidFill>
                          <a:schemeClr val="bg1"/>
                        </a:solidFill>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rPr>
                        <a:t>Communication Plans </a:t>
                      </a:r>
                      <a:endParaRPr lang="en-GB" sz="900" dirty="0">
                        <a:solidFill>
                          <a:schemeClr val="tx1">
                            <a:lumMod val="95000"/>
                            <a:lumOff val="5000"/>
                          </a:schemeClr>
                        </a:solidFill>
                      </a:endParaRPr>
                    </a:p>
                  </a:txBody>
                  <a:tcPr>
                    <a:solidFill>
                      <a:srgbClr val="99C8DB"/>
                    </a:solidFill>
                  </a:tcPr>
                </a:tc>
                <a:tc>
                  <a:txBody>
                    <a:bodyPr/>
                    <a:lstStyle/>
                    <a:p>
                      <a:endParaRPr lang="en-GB" sz="1000" dirty="0"/>
                    </a:p>
                  </a:txBody>
                  <a:tcPr>
                    <a:solidFill>
                      <a:schemeClr val="bg1">
                        <a:lumMod val="95000"/>
                      </a:schemeClr>
                    </a:solidFill>
                  </a:tcPr>
                </a:tc>
                <a:extLst>
                  <a:ext uri="{0D108BD9-81ED-4DB2-BD59-A6C34878D82A}">
                    <a16:rowId xmlns:a16="http://schemas.microsoft.com/office/drawing/2014/main" val="908533433"/>
                  </a:ext>
                </a:extLst>
              </a:tr>
              <a:tr h="223674">
                <a:tc>
                  <a:txBody>
                    <a:bodyPr/>
                    <a:lstStyle/>
                    <a:p>
                      <a:endParaRPr lang="en-GB" sz="1000" dirty="0">
                        <a:solidFill>
                          <a:schemeClr val="bg1"/>
                        </a:solidFill>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solidFill>
                            <a:schemeClr val="tx1">
                              <a:lumMod val="75000"/>
                              <a:lumOff val="25000"/>
                            </a:schemeClr>
                          </a:solidFill>
                        </a:rPr>
                        <a:t>POS Plan </a:t>
                      </a:r>
                      <a:endParaRPr lang="en-GB" sz="900" dirty="0">
                        <a:solidFill>
                          <a:schemeClr val="tx1">
                            <a:lumMod val="95000"/>
                            <a:lumOff val="5000"/>
                          </a:schemeClr>
                        </a:solidFill>
                      </a:endParaRPr>
                    </a:p>
                  </a:txBody>
                  <a:tcPr>
                    <a:solidFill>
                      <a:srgbClr val="99C8DB"/>
                    </a:solidFill>
                  </a:tcPr>
                </a:tc>
                <a:tc>
                  <a:txBody>
                    <a:bodyPr/>
                    <a:lstStyle/>
                    <a:p>
                      <a:endParaRPr lang="en-GB" sz="1000" dirty="0"/>
                    </a:p>
                  </a:txBody>
                  <a:tcPr>
                    <a:solidFill>
                      <a:schemeClr val="bg1">
                        <a:lumMod val="95000"/>
                      </a:schemeClr>
                    </a:solidFill>
                  </a:tcPr>
                </a:tc>
                <a:extLst>
                  <a:ext uri="{0D108BD9-81ED-4DB2-BD59-A6C34878D82A}">
                    <a16:rowId xmlns:a16="http://schemas.microsoft.com/office/drawing/2014/main" val="102857004"/>
                  </a:ext>
                </a:extLst>
              </a:tr>
              <a:tr h="223674">
                <a:tc>
                  <a:txBody>
                    <a:bodyPr/>
                    <a:lstStyle/>
                    <a:p>
                      <a:endParaRPr lang="en-GB" sz="1000" dirty="0">
                        <a:solidFill>
                          <a:schemeClr val="bg1"/>
                        </a:solidFill>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solidFill>
                            <a:schemeClr val="tx1">
                              <a:lumMod val="75000"/>
                              <a:lumOff val="25000"/>
                            </a:schemeClr>
                          </a:solidFill>
                        </a:rPr>
                        <a:t>High level tactical calendar </a:t>
                      </a:r>
                      <a:endParaRPr lang="en-GB" sz="900" dirty="0">
                        <a:solidFill>
                          <a:schemeClr val="tx1">
                            <a:lumMod val="95000"/>
                            <a:lumOff val="5000"/>
                          </a:schemeClr>
                        </a:solidFill>
                      </a:endParaRPr>
                    </a:p>
                  </a:txBody>
                  <a:tcPr>
                    <a:solidFill>
                      <a:srgbClr val="99C8DB"/>
                    </a:solidFill>
                  </a:tcPr>
                </a:tc>
                <a:tc>
                  <a:txBody>
                    <a:bodyPr/>
                    <a:lstStyle/>
                    <a:p>
                      <a:endParaRPr lang="en-GB" sz="1000" dirty="0"/>
                    </a:p>
                  </a:txBody>
                  <a:tcPr>
                    <a:solidFill>
                      <a:schemeClr val="bg1">
                        <a:lumMod val="95000"/>
                      </a:schemeClr>
                    </a:solidFill>
                  </a:tcPr>
                </a:tc>
                <a:extLst>
                  <a:ext uri="{0D108BD9-81ED-4DB2-BD59-A6C34878D82A}">
                    <a16:rowId xmlns:a16="http://schemas.microsoft.com/office/drawing/2014/main" val="2223390391"/>
                  </a:ext>
                </a:extLst>
              </a:tr>
              <a:tr h="223674">
                <a:tc>
                  <a:txBody>
                    <a:bodyPr/>
                    <a:lstStyle/>
                    <a:p>
                      <a:r>
                        <a:rPr lang="en-GB" sz="1000" dirty="0">
                          <a:solidFill>
                            <a:schemeClr val="bg1"/>
                          </a:solidFill>
                        </a:rPr>
                        <a:t>5.0</a:t>
                      </a:r>
                    </a:p>
                  </a:txBody>
                  <a:tcPr>
                    <a:solidFill>
                      <a:schemeClr val="accent1"/>
                    </a:solidFill>
                  </a:tcPr>
                </a:tc>
                <a:tc>
                  <a:txBody>
                    <a:bodyPr/>
                    <a:lstStyle/>
                    <a:p>
                      <a:r>
                        <a:rPr lang="en-GB" sz="900" dirty="0">
                          <a:solidFill>
                            <a:schemeClr val="bg1"/>
                          </a:solidFill>
                        </a:rPr>
                        <a:t>P&amp;L</a:t>
                      </a:r>
                    </a:p>
                  </a:txBody>
                  <a:tcPr>
                    <a:solidFill>
                      <a:schemeClr val="accent1"/>
                    </a:solidFill>
                  </a:tcPr>
                </a:tc>
                <a:tc>
                  <a:txBody>
                    <a:bodyPr/>
                    <a:lstStyle/>
                    <a:p>
                      <a:endParaRPr lang="en-GB" sz="1000" dirty="0"/>
                    </a:p>
                  </a:txBody>
                  <a:tcPr>
                    <a:solidFill>
                      <a:schemeClr val="bg1">
                        <a:lumMod val="95000"/>
                      </a:schemeClr>
                    </a:solidFill>
                  </a:tcPr>
                </a:tc>
                <a:extLst>
                  <a:ext uri="{0D108BD9-81ED-4DB2-BD59-A6C34878D82A}">
                    <a16:rowId xmlns:a16="http://schemas.microsoft.com/office/drawing/2014/main" val="2703129503"/>
                  </a:ext>
                </a:extLst>
              </a:tr>
              <a:tr h="223674">
                <a:tc>
                  <a:txBody>
                    <a:bodyPr/>
                    <a:lstStyle/>
                    <a:p>
                      <a:endParaRPr lang="en-GB" sz="1000" dirty="0">
                        <a:solidFill>
                          <a:schemeClr val="bg1"/>
                        </a:solidFill>
                      </a:endParaRPr>
                    </a:p>
                  </a:txBody>
                  <a:tcPr>
                    <a:solidFill>
                      <a:schemeClr val="bg1"/>
                    </a:solidFill>
                  </a:tcPr>
                </a:tc>
                <a:tc>
                  <a:txBody>
                    <a:bodyPr/>
                    <a:lstStyle/>
                    <a:p>
                      <a:r>
                        <a:rPr lang="en-GB" sz="900" dirty="0">
                          <a:solidFill>
                            <a:schemeClr val="tx1">
                              <a:lumMod val="95000"/>
                              <a:lumOff val="5000"/>
                            </a:schemeClr>
                          </a:solidFill>
                        </a:rPr>
                        <a:t>Marketing ROI and Ratios</a:t>
                      </a:r>
                    </a:p>
                  </a:txBody>
                  <a:tcPr>
                    <a:solidFill>
                      <a:srgbClr val="99C8DB"/>
                    </a:solidFill>
                  </a:tcPr>
                </a:tc>
                <a:tc>
                  <a:txBody>
                    <a:bodyPr/>
                    <a:lstStyle/>
                    <a:p>
                      <a:endParaRPr lang="en-GB" sz="1000" dirty="0"/>
                    </a:p>
                  </a:txBody>
                  <a:tcPr>
                    <a:solidFill>
                      <a:schemeClr val="bg1">
                        <a:lumMod val="95000"/>
                      </a:schemeClr>
                    </a:solidFill>
                  </a:tcPr>
                </a:tc>
                <a:extLst>
                  <a:ext uri="{0D108BD9-81ED-4DB2-BD59-A6C34878D82A}">
                    <a16:rowId xmlns:a16="http://schemas.microsoft.com/office/drawing/2014/main" val="47789640"/>
                  </a:ext>
                </a:extLst>
              </a:tr>
              <a:tr h="223674">
                <a:tc>
                  <a:txBody>
                    <a:bodyPr/>
                    <a:lstStyle/>
                    <a:p>
                      <a:r>
                        <a:rPr lang="en-GB" sz="1000" dirty="0">
                          <a:solidFill>
                            <a:schemeClr val="bg1"/>
                          </a:solidFill>
                        </a:rPr>
                        <a:t>6.0</a:t>
                      </a:r>
                    </a:p>
                  </a:txBody>
                  <a:tcPr>
                    <a:solidFill>
                      <a:schemeClr val="accent1"/>
                    </a:solidFill>
                  </a:tcPr>
                </a:tc>
                <a:tc>
                  <a:txBody>
                    <a:bodyPr/>
                    <a:lstStyle/>
                    <a:p>
                      <a:r>
                        <a:rPr lang="en-GB" sz="900" dirty="0">
                          <a:solidFill>
                            <a:schemeClr val="bg1"/>
                          </a:solidFill>
                        </a:rPr>
                        <a:t>Conclusions </a:t>
                      </a:r>
                    </a:p>
                  </a:txBody>
                  <a:tcPr>
                    <a:solidFill>
                      <a:schemeClr val="accent1"/>
                    </a:solidFill>
                  </a:tcPr>
                </a:tc>
                <a:tc>
                  <a:txBody>
                    <a:bodyPr/>
                    <a:lstStyle/>
                    <a:p>
                      <a:endParaRPr lang="en-GB" sz="1000" dirty="0"/>
                    </a:p>
                  </a:txBody>
                  <a:tcPr>
                    <a:solidFill>
                      <a:schemeClr val="bg1">
                        <a:lumMod val="95000"/>
                      </a:schemeClr>
                    </a:solidFill>
                  </a:tcPr>
                </a:tc>
                <a:extLst>
                  <a:ext uri="{0D108BD9-81ED-4DB2-BD59-A6C34878D82A}">
                    <a16:rowId xmlns:a16="http://schemas.microsoft.com/office/drawing/2014/main" val="4272979437"/>
                  </a:ext>
                </a:extLst>
              </a:tr>
              <a:tr h="223674">
                <a:tc>
                  <a:txBody>
                    <a:bodyPr/>
                    <a:lstStyle/>
                    <a:p>
                      <a:endParaRPr lang="en-GB" sz="1000" dirty="0">
                        <a:solidFill>
                          <a:schemeClr val="bg1"/>
                        </a:solidFill>
                      </a:endParaRPr>
                    </a:p>
                  </a:txBody>
                  <a:tcPr>
                    <a:solidFill>
                      <a:schemeClr val="bg1"/>
                    </a:solidFill>
                  </a:tcPr>
                </a:tc>
                <a:tc>
                  <a:txBody>
                    <a:bodyPr/>
                    <a:lstStyle/>
                    <a:p>
                      <a:r>
                        <a:rPr lang="en-GB" sz="900" dirty="0">
                          <a:solidFill>
                            <a:schemeClr val="tx1">
                              <a:lumMod val="95000"/>
                              <a:lumOff val="5000"/>
                            </a:schemeClr>
                          </a:solidFill>
                        </a:rPr>
                        <a:t>Recommendations and Reviews</a:t>
                      </a:r>
                    </a:p>
                  </a:txBody>
                  <a:tcPr>
                    <a:solidFill>
                      <a:srgbClr val="99C8DB"/>
                    </a:solidFill>
                  </a:tcPr>
                </a:tc>
                <a:tc>
                  <a:txBody>
                    <a:bodyPr/>
                    <a:lstStyle/>
                    <a:p>
                      <a:endParaRPr lang="en-GB" sz="1000" dirty="0"/>
                    </a:p>
                  </a:txBody>
                  <a:tcPr>
                    <a:solidFill>
                      <a:schemeClr val="bg1">
                        <a:lumMod val="95000"/>
                      </a:schemeClr>
                    </a:solidFill>
                  </a:tcPr>
                </a:tc>
                <a:extLst>
                  <a:ext uri="{0D108BD9-81ED-4DB2-BD59-A6C34878D82A}">
                    <a16:rowId xmlns:a16="http://schemas.microsoft.com/office/drawing/2014/main" val="286498152"/>
                  </a:ext>
                </a:extLst>
              </a:tr>
            </a:tbl>
          </a:graphicData>
        </a:graphic>
      </p:graphicFrame>
    </p:spTree>
    <p:extLst>
      <p:ext uri="{BB962C8B-B14F-4D97-AF65-F5344CB8AC3E}">
        <p14:creationId xmlns:p14="http://schemas.microsoft.com/office/powerpoint/2010/main" val="4991179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5B63F72-B9D1-63CC-4A40-32263F862A05}"/>
              </a:ext>
            </a:extLst>
          </p:cNvPr>
          <p:cNvSpPr txBox="1"/>
          <p:nvPr/>
        </p:nvSpPr>
        <p:spPr>
          <a:xfrm>
            <a:off x="1488352" y="1663857"/>
            <a:ext cx="7126259"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Lato Light"/>
                <a:ea typeface="+mn-ea"/>
                <a:cs typeface="+mn-cs"/>
              </a:rPr>
              <a:t>Corporate objectives usually contain at least the following elem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Lato Light"/>
                <a:ea typeface="+mn-ea"/>
                <a:cs typeface="+mn-cs"/>
              </a:rPr>
              <a:t>Such a corporate plan, containing projected profit and loss accounts and balance sheets, being the result of the process described above, is more likely to provide long-term stability for a company than plans based on a more intuitive process containing forecasts , technologies , trends etc</a:t>
            </a:r>
          </a:p>
        </p:txBody>
      </p:sp>
      <p:sp>
        <p:nvSpPr>
          <p:cNvPr id="9" name="TextBox 8">
            <a:extLst>
              <a:ext uri="{FF2B5EF4-FFF2-40B4-BE49-F238E27FC236}">
                <a16:creationId xmlns:a16="http://schemas.microsoft.com/office/drawing/2014/main" id="{0B79DE15-B058-C1FF-2F31-51AA1A879FA0}"/>
              </a:ext>
            </a:extLst>
          </p:cNvPr>
          <p:cNvSpPr txBox="1"/>
          <p:nvPr/>
        </p:nvSpPr>
        <p:spPr>
          <a:xfrm>
            <a:off x="240367" y="131645"/>
            <a:ext cx="10056158" cy="800219"/>
          </a:xfrm>
          <a:prstGeom prst="rect">
            <a:avLst/>
          </a:prstGeom>
          <a:solidFill>
            <a:schemeClr val="bg1"/>
          </a:solid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ning Process</a:t>
            </a: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orporate Objectives </a:t>
            </a:r>
          </a:p>
        </p:txBody>
      </p:sp>
      <p:pic>
        <p:nvPicPr>
          <p:cNvPr id="10" name="Picture 9" descr="Logo&#10;&#10;Description automatically generated">
            <a:extLst>
              <a:ext uri="{FF2B5EF4-FFF2-40B4-BE49-F238E27FC236}">
                <a16:creationId xmlns:a16="http://schemas.microsoft.com/office/drawing/2014/main" id="{47A9571C-2C60-2AA2-291A-F74F2A423F8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11" name="Footer Placeholder 3">
            <a:extLst>
              <a:ext uri="{FF2B5EF4-FFF2-40B4-BE49-F238E27FC236}">
                <a16:creationId xmlns:a16="http://schemas.microsoft.com/office/drawing/2014/main" id="{BD030F87-1556-D2FB-80BC-C83920CB6ACE}"/>
              </a:ext>
            </a:extLst>
          </p:cNvPr>
          <p:cNvSpPr>
            <a:spLocks noGrp="1"/>
          </p:cNvSpPr>
          <p:nvPr>
            <p:ph type="ftr" sz="quarter" idx="11"/>
          </p:nvPr>
        </p:nvSpPr>
        <p:spPr>
          <a:xfrm>
            <a:off x="403860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Lato Light"/>
                <a:ea typeface="+mn-ea"/>
                <a:cs typeface="+mn-cs"/>
              </a:rPr>
              <a:t>www.upskilpro.com</a:t>
            </a:r>
            <a:endParaRPr kumimoji="0" lang="en-GB" sz="1200" b="0" i="0" u="none" strike="noStrike" kern="1200" cap="none" spc="0" normalizeH="0" baseline="0" noProof="0" dirty="0">
              <a:ln>
                <a:noFill/>
              </a:ln>
              <a:solidFill>
                <a:prstClr val="black">
                  <a:tint val="75000"/>
                </a:prstClr>
              </a:solidFill>
              <a:effectLst/>
              <a:uLnTx/>
              <a:uFillTx/>
              <a:latin typeface="Lato Light"/>
              <a:ea typeface="+mn-ea"/>
              <a:cs typeface="+mn-cs"/>
            </a:endParaRPr>
          </a:p>
        </p:txBody>
      </p:sp>
      <p:pic>
        <p:nvPicPr>
          <p:cNvPr id="13" name="Picture 12" descr="Logo, icon&#10;&#10;Description automatically generated">
            <a:extLst>
              <a:ext uri="{FF2B5EF4-FFF2-40B4-BE49-F238E27FC236}">
                <a16:creationId xmlns:a16="http://schemas.microsoft.com/office/drawing/2014/main" id="{4F16F143-7D60-ED58-47D4-66A69FD75ADD}"/>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56140" t="24440" r="9698" b="23449"/>
          <a:stretch/>
        </p:blipFill>
        <p:spPr>
          <a:xfrm>
            <a:off x="1228725" y="3009900"/>
            <a:ext cx="1123950" cy="1143000"/>
          </a:xfrm>
          <a:prstGeom prst="rect">
            <a:avLst/>
          </a:prstGeom>
        </p:spPr>
      </p:pic>
      <p:sp>
        <p:nvSpPr>
          <p:cNvPr id="14" name="TextBox 13">
            <a:extLst>
              <a:ext uri="{FF2B5EF4-FFF2-40B4-BE49-F238E27FC236}">
                <a16:creationId xmlns:a16="http://schemas.microsoft.com/office/drawing/2014/main" id="{0DC5A748-DD25-7590-D6C6-86AE431D4DA8}"/>
              </a:ext>
            </a:extLst>
          </p:cNvPr>
          <p:cNvSpPr txBox="1"/>
          <p:nvPr/>
        </p:nvSpPr>
        <p:spPr>
          <a:xfrm>
            <a:off x="476249" y="3609975"/>
            <a:ext cx="1838325" cy="67710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orpora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OBJECTIVES</a:t>
            </a:r>
          </a:p>
        </p:txBody>
      </p:sp>
      <p:grpSp>
        <p:nvGrpSpPr>
          <p:cNvPr id="33" name="Group 32">
            <a:extLst>
              <a:ext uri="{FF2B5EF4-FFF2-40B4-BE49-F238E27FC236}">
                <a16:creationId xmlns:a16="http://schemas.microsoft.com/office/drawing/2014/main" id="{06B9234C-F297-8F44-9D3C-C13CAA7C34E5}"/>
              </a:ext>
            </a:extLst>
          </p:cNvPr>
          <p:cNvGrpSpPr/>
          <p:nvPr/>
        </p:nvGrpSpPr>
        <p:grpSpPr>
          <a:xfrm>
            <a:off x="8377083" y="1700980"/>
            <a:ext cx="3549445" cy="3588775"/>
            <a:chOff x="8544232" y="1779638"/>
            <a:chExt cx="3549445" cy="3588775"/>
          </a:xfrm>
        </p:grpSpPr>
        <p:sp>
          <p:nvSpPr>
            <p:cNvPr id="27" name="Flowchart: Connector 26">
              <a:extLst>
                <a:ext uri="{FF2B5EF4-FFF2-40B4-BE49-F238E27FC236}">
                  <a16:creationId xmlns:a16="http://schemas.microsoft.com/office/drawing/2014/main" id="{1F70CFF3-D06A-98C1-C17B-2B438A45D8B9}"/>
                </a:ext>
              </a:extLst>
            </p:cNvPr>
            <p:cNvSpPr/>
            <p:nvPr/>
          </p:nvSpPr>
          <p:spPr>
            <a:xfrm>
              <a:off x="8544232" y="1779638"/>
              <a:ext cx="3549445" cy="3588775"/>
            </a:xfrm>
            <a:prstGeom prst="flowChartConnector">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Light"/>
                <a:ea typeface="+mn-ea"/>
                <a:cs typeface="+mn-cs"/>
              </a:endParaRPr>
            </a:p>
          </p:txBody>
        </p:sp>
        <p:sp>
          <p:nvSpPr>
            <p:cNvPr id="28" name="Flowchart: Connector 27">
              <a:extLst>
                <a:ext uri="{FF2B5EF4-FFF2-40B4-BE49-F238E27FC236}">
                  <a16:creationId xmlns:a16="http://schemas.microsoft.com/office/drawing/2014/main" id="{07B1FAF9-F311-EA36-4B57-3EDF4A17018B}"/>
                </a:ext>
              </a:extLst>
            </p:cNvPr>
            <p:cNvSpPr/>
            <p:nvPr/>
          </p:nvSpPr>
          <p:spPr>
            <a:xfrm>
              <a:off x="9050593" y="2305664"/>
              <a:ext cx="2520000" cy="2520000"/>
            </a:xfrm>
            <a:prstGeom prst="flowChartConnector">
              <a:avLst/>
            </a:prstGeom>
            <a:solidFill>
              <a:srgbClr val="3984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Light"/>
                <a:ea typeface="+mn-ea"/>
                <a:cs typeface="+mn-cs"/>
              </a:endParaRPr>
            </a:p>
          </p:txBody>
        </p:sp>
        <p:sp>
          <p:nvSpPr>
            <p:cNvPr id="29" name="Flowchart: Connector 28">
              <a:extLst>
                <a:ext uri="{FF2B5EF4-FFF2-40B4-BE49-F238E27FC236}">
                  <a16:creationId xmlns:a16="http://schemas.microsoft.com/office/drawing/2014/main" id="{4190F36E-024D-4D12-3750-1B9A1853462D}"/>
                </a:ext>
              </a:extLst>
            </p:cNvPr>
            <p:cNvSpPr/>
            <p:nvPr/>
          </p:nvSpPr>
          <p:spPr>
            <a:xfrm>
              <a:off x="9586451" y="2831690"/>
              <a:ext cx="1440000" cy="1440000"/>
            </a:xfrm>
            <a:prstGeom prst="flowChartConnector">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Light"/>
                <a:ea typeface="+mn-ea"/>
                <a:cs typeface="+mn-cs"/>
              </a:endParaRPr>
            </a:p>
          </p:txBody>
        </p:sp>
        <p:sp>
          <p:nvSpPr>
            <p:cNvPr id="30" name="TextBox 29">
              <a:extLst>
                <a:ext uri="{FF2B5EF4-FFF2-40B4-BE49-F238E27FC236}">
                  <a16:creationId xmlns:a16="http://schemas.microsoft.com/office/drawing/2014/main" id="{C4B1C196-268C-1ACA-E2AA-E5772A3653A8}"/>
                </a:ext>
              </a:extLst>
            </p:cNvPr>
            <p:cNvSpPr txBox="1"/>
            <p:nvPr/>
          </p:nvSpPr>
          <p:spPr>
            <a:xfrm>
              <a:off x="9547123" y="3195483"/>
              <a:ext cx="1524000" cy="923330"/>
            </a:xfrm>
            <a:prstGeom prst="rect">
              <a:avLst/>
            </a:prstGeom>
            <a:noFill/>
          </p:spPr>
          <p:txBody>
            <a:bodyPr wrap="square" rtlCol="0">
              <a:spAutoFit/>
            </a:bodyPr>
            <a:lstStyle/>
            <a:p>
              <a:pPr marL="0" marR="0" lvl="0" indent="0" algn="ctr" defTabSz="91417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Lato Light"/>
                  <a:ea typeface="+mn-ea"/>
                  <a:cs typeface="+mn-cs"/>
                </a:rPr>
                <a:t>Trade Marketing</a:t>
              </a:r>
            </a:p>
            <a:p>
              <a:pPr marL="0" marR="0" lvl="0" indent="0" algn="ctr" defTabSz="91417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Lato Light"/>
                <a:ea typeface="+mn-ea"/>
                <a:cs typeface="+mn-cs"/>
              </a:endParaRPr>
            </a:p>
            <a:p>
              <a:pPr marL="0" marR="0" lvl="0" indent="0" algn="ctr" defTabSz="91417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Lato Light"/>
                  <a:ea typeface="+mn-ea"/>
                  <a:cs typeface="+mn-cs"/>
                </a:rPr>
                <a:t>Focus on Markets / Customers &amp; </a:t>
              </a:r>
            </a:p>
            <a:p>
              <a:pPr marL="0" marR="0" lvl="0" indent="0" algn="ctr" defTabSz="91417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Lato Light"/>
                  <a:ea typeface="+mn-ea"/>
                  <a:cs typeface="+mn-cs"/>
                </a:rPr>
                <a:t>Product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prstClr val="black"/>
                </a:solidFill>
                <a:effectLst/>
                <a:uLnTx/>
                <a:uFillTx/>
                <a:latin typeface="Lato Light"/>
                <a:ea typeface="+mn-ea"/>
                <a:cs typeface="+mn-cs"/>
              </a:endParaRPr>
            </a:p>
          </p:txBody>
        </p:sp>
        <p:sp>
          <p:nvSpPr>
            <p:cNvPr id="31" name="TextBox 30">
              <a:extLst>
                <a:ext uri="{FF2B5EF4-FFF2-40B4-BE49-F238E27FC236}">
                  <a16:creationId xmlns:a16="http://schemas.microsoft.com/office/drawing/2014/main" id="{38C2EE7F-853A-8D6A-71E2-EDD9F3982E9B}"/>
                </a:ext>
              </a:extLst>
            </p:cNvPr>
            <p:cNvSpPr txBox="1"/>
            <p:nvPr/>
          </p:nvSpPr>
          <p:spPr>
            <a:xfrm>
              <a:off x="9330814" y="4203288"/>
              <a:ext cx="1936952" cy="507831"/>
            </a:xfrm>
            <a:prstGeom prst="rect">
              <a:avLst/>
            </a:prstGeom>
            <a:noFill/>
          </p:spPr>
          <p:txBody>
            <a:bodyPr wrap="square" rtlCol="0">
              <a:spAutoFit/>
            </a:bodyPr>
            <a:lstStyle/>
            <a:p>
              <a:pPr marL="0" marR="0" lvl="0" indent="0" algn="ctr" defTabSz="91417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Lato Light"/>
                  <a:ea typeface="+mn-ea"/>
                  <a:cs typeface="+mn-cs"/>
                </a:rPr>
                <a:t>Business </a:t>
              </a:r>
            </a:p>
            <a:p>
              <a:pPr marL="0" marR="0" lvl="0" indent="0" algn="ctr" defTabSz="91417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Lato Light"/>
                  <a:ea typeface="+mn-ea"/>
                  <a:cs typeface="+mn-cs"/>
                </a:rPr>
                <a:t>Focus on resources which must be applied on your markets</a:t>
              </a:r>
              <a:endParaRPr kumimoji="0" lang="en-GB" sz="900" b="0" i="0" u="none" strike="noStrike" kern="1200" cap="none" spc="0" normalizeH="0" baseline="0" noProof="0" dirty="0">
                <a:ln>
                  <a:noFill/>
                </a:ln>
                <a:solidFill>
                  <a:prstClr val="black"/>
                </a:solidFill>
                <a:effectLst/>
                <a:uLnTx/>
                <a:uFillTx/>
                <a:latin typeface="Lato Light"/>
                <a:ea typeface="+mn-ea"/>
                <a:cs typeface="+mn-cs"/>
              </a:endParaRPr>
            </a:p>
          </p:txBody>
        </p:sp>
        <p:sp>
          <p:nvSpPr>
            <p:cNvPr id="32" name="TextBox 31">
              <a:extLst>
                <a:ext uri="{FF2B5EF4-FFF2-40B4-BE49-F238E27FC236}">
                  <a16:creationId xmlns:a16="http://schemas.microsoft.com/office/drawing/2014/main" id="{5720C7E8-969A-1E35-E2A0-9C6A3D030873}"/>
                </a:ext>
              </a:extLst>
            </p:cNvPr>
            <p:cNvSpPr txBox="1"/>
            <p:nvPr/>
          </p:nvSpPr>
          <p:spPr>
            <a:xfrm>
              <a:off x="9212824" y="4788308"/>
              <a:ext cx="2212260" cy="461665"/>
            </a:xfrm>
            <a:prstGeom prst="rect">
              <a:avLst/>
            </a:prstGeom>
            <a:noFill/>
          </p:spPr>
          <p:txBody>
            <a:bodyPr wrap="square" rtlCol="0">
              <a:spAutoFit/>
            </a:bodyPr>
            <a:lstStyle/>
            <a:p>
              <a:pPr marL="0" marR="0" lvl="0" indent="0" algn="ctr" defTabSz="914172"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Lato Light"/>
                  <a:ea typeface="+mn-ea"/>
                  <a:cs typeface="+mn-cs"/>
                </a:rPr>
                <a:t>Corporate </a:t>
              </a:r>
            </a:p>
            <a:p>
              <a:pPr marL="0" marR="0" lvl="0" indent="0" algn="ctr" defTabSz="914172"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Lato Light"/>
                  <a:ea typeface="+mn-ea"/>
                  <a:cs typeface="+mn-cs"/>
                </a:rPr>
                <a:t>This covers business plans based specifically on each business vertical </a:t>
              </a:r>
              <a:endParaRPr kumimoji="0" lang="en-GB" sz="800" b="0" i="0" u="none" strike="noStrike" kern="1200" cap="none" spc="0" normalizeH="0" baseline="0" noProof="0" dirty="0">
                <a:ln>
                  <a:noFill/>
                </a:ln>
                <a:solidFill>
                  <a:prstClr val="black"/>
                </a:solidFill>
                <a:effectLst/>
                <a:uLnTx/>
                <a:uFillTx/>
                <a:latin typeface="Lato Light"/>
                <a:ea typeface="+mn-ea"/>
                <a:cs typeface="+mn-cs"/>
              </a:endParaRPr>
            </a:p>
          </p:txBody>
        </p:sp>
      </p:grpSp>
      <p:sp>
        <p:nvSpPr>
          <p:cNvPr id="3" name="Rectangle: Rounded Corners 2">
            <a:extLst>
              <a:ext uri="{FF2B5EF4-FFF2-40B4-BE49-F238E27FC236}">
                <a16:creationId xmlns:a16="http://schemas.microsoft.com/office/drawing/2014/main" id="{8B1DE42F-235C-6247-9833-609774BAE32D}"/>
              </a:ext>
            </a:extLst>
          </p:cNvPr>
          <p:cNvSpPr/>
          <p:nvPr/>
        </p:nvSpPr>
        <p:spPr>
          <a:xfrm>
            <a:off x="3135601" y="3069137"/>
            <a:ext cx="4693343" cy="2699863"/>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Lato Light"/>
                <a:ea typeface="+mn-ea"/>
                <a:cs typeface="+mn-cs"/>
              </a:rPr>
              <a:t>Summar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Lato Ligh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Lato Light"/>
                <a:ea typeface="+mn-ea"/>
                <a:cs typeface="+mn-cs"/>
              </a:rPr>
              <a:t>The desired level of profitabil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Lato Light"/>
                <a:ea typeface="+mn-ea"/>
                <a:cs typeface="+mn-cs"/>
              </a:rPr>
              <a:t>Business boundaries</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Lato Light"/>
                <a:ea typeface="+mn-ea"/>
                <a:cs typeface="+mn-cs"/>
              </a:rPr>
              <a:t>What kind of products will be sold to what kinds of markets</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Lato Light"/>
                <a:ea typeface="+mn-ea"/>
                <a:cs typeface="+mn-cs"/>
              </a:rPr>
              <a:t>(marketing)</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Lato Light"/>
                <a:ea typeface="+mn-ea"/>
                <a:cs typeface="+mn-cs"/>
              </a:rPr>
              <a:t>What kinds of facilities will be developed (operations, R&amp;D,</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Lato Light"/>
                <a:ea typeface="+mn-ea"/>
                <a:cs typeface="+mn-cs"/>
              </a:rPr>
              <a:t>information systems, distribution, etc.)</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Lato Light"/>
                <a:ea typeface="+mn-ea"/>
                <a:cs typeface="+mn-cs"/>
              </a:rPr>
              <a:t>The size and character of the labour force (personnel)</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Lato Light"/>
                <a:ea typeface="+mn-ea"/>
                <a:cs typeface="+mn-cs"/>
              </a:rPr>
              <a:t>Funding (fina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Lato Light"/>
                <a:ea typeface="+mn-ea"/>
                <a:cs typeface="+mn-cs"/>
              </a:rPr>
              <a:t>Other corporate objectives, such as social responsibility, corporate image, stock market image, employer image, etc.</a:t>
            </a:r>
            <a:endParaRPr kumimoji="0" lang="en-GB" sz="1200" b="0" i="0" u="none" strike="noStrike" kern="1200" cap="none" spc="0" normalizeH="0" baseline="0" noProof="0" dirty="0">
              <a:ln>
                <a:noFill/>
              </a:ln>
              <a:solidFill>
                <a:prstClr val="white"/>
              </a:solidFill>
              <a:effectLst/>
              <a:uLnTx/>
              <a:uFillTx/>
              <a:latin typeface="Lato 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Lato Light"/>
              <a:ea typeface="+mn-ea"/>
              <a:cs typeface="+mn-cs"/>
            </a:endParaRPr>
          </a:p>
        </p:txBody>
      </p:sp>
    </p:spTree>
    <p:extLst>
      <p:ext uri="{BB962C8B-B14F-4D97-AF65-F5344CB8AC3E}">
        <p14:creationId xmlns:p14="http://schemas.microsoft.com/office/powerpoint/2010/main" val="11529311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BF0F4BD-E8CD-71F3-3380-02BBB88F0DF2}"/>
              </a:ext>
            </a:extLst>
          </p:cNvPr>
          <p:cNvSpPr txBox="1"/>
          <p:nvPr/>
        </p:nvSpPr>
        <p:spPr>
          <a:xfrm>
            <a:off x="981075" y="1418987"/>
            <a:ext cx="10344150"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Lato Light"/>
                <a:ea typeface="+mn-ea"/>
                <a:cs typeface="+mn-cs"/>
              </a:rPr>
              <a:t>A Trade marketing plan should begin with a mission or purpose stateme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Lato Light"/>
                <a:ea typeface="+mn-ea"/>
                <a:cs typeface="+mn-cs"/>
              </a:rPr>
              <a:t>This is perhaps the most difficult aspect of trade marketing planning for managers to master, because it is largely philosophical and qualitative in nature. Many organizations find their different departments, and sometimes even different groups in the same department, pulling in different directions, often with poor results, simply because the organization hasn’t defined the boundaries of the business and the way it wishes to do busines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Lato Light"/>
              <a:ea typeface="+mn-ea"/>
              <a:cs typeface="+mn-cs"/>
            </a:endParaRPr>
          </a:p>
        </p:txBody>
      </p:sp>
      <p:sp>
        <p:nvSpPr>
          <p:cNvPr id="5" name="TextBox 4">
            <a:extLst>
              <a:ext uri="{FF2B5EF4-FFF2-40B4-BE49-F238E27FC236}">
                <a16:creationId xmlns:a16="http://schemas.microsoft.com/office/drawing/2014/main" id="{E6BD6161-7BF6-A561-6EA8-D9595D832635}"/>
              </a:ext>
            </a:extLst>
          </p:cNvPr>
          <p:cNvSpPr txBox="1"/>
          <p:nvPr/>
        </p:nvSpPr>
        <p:spPr>
          <a:xfrm>
            <a:off x="3124201" y="2491324"/>
            <a:ext cx="7896224" cy="36009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Lato Light"/>
                <a:ea typeface="+mn-ea"/>
                <a:cs typeface="+mn-cs"/>
              </a:rPr>
              <a:t>The following should appear in a mission or purpose statement, whic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Lato Light"/>
                <a:ea typeface="+mn-ea"/>
                <a:cs typeface="+mn-cs"/>
              </a:rPr>
              <a:t>should normally run to no more than one pa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Lato Light"/>
                <a:ea typeface="+mn-ea"/>
                <a:cs typeface="+mn-cs"/>
              </a:rPr>
              <a:t>Role or contribu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Lato Light"/>
                <a:ea typeface="+mn-ea"/>
                <a:cs typeface="+mn-cs"/>
              </a:rPr>
              <a:t>Profit (specify), o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Lato Light"/>
                <a:ea typeface="+mn-ea"/>
                <a:cs typeface="+mn-cs"/>
              </a:rPr>
              <a:t>Service, o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Lato Light"/>
                <a:ea typeface="+mn-ea"/>
                <a:cs typeface="+mn-cs"/>
              </a:rPr>
              <a:t>Opportunity seek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srgbClr val="000000"/>
                </a:solidFill>
                <a:effectLst/>
                <a:uLnTx/>
                <a:uFillTx/>
                <a:latin typeface="Lato Light"/>
                <a:ea typeface="+mn-ea"/>
                <a:cs typeface="+mn-cs"/>
              </a:rPr>
              <a:t>Business definition </a:t>
            </a:r>
            <a:r>
              <a:rPr kumimoji="0" lang="en-GB" sz="1200" b="0" i="0" u="none" strike="noStrike" kern="1200" cap="none" spc="0" normalizeH="0" baseline="0" noProof="0" dirty="0">
                <a:ln>
                  <a:noFill/>
                </a:ln>
                <a:solidFill>
                  <a:srgbClr val="000000"/>
                </a:solidFill>
                <a:effectLst/>
                <a:uLnTx/>
                <a:uFillTx/>
                <a:latin typeface="Lato Light"/>
                <a:ea typeface="+mn-ea"/>
                <a:cs typeface="+mn-cs"/>
              </a:rPr>
              <a:t>– define the business, preferably in terms of the </a:t>
            </a:r>
            <a:r>
              <a:rPr kumimoji="0" lang="en-GB" sz="1200" b="0" i="1" u="none" strike="noStrike" kern="1200" cap="none" spc="0" normalizeH="0" baseline="0" noProof="0" dirty="0">
                <a:ln>
                  <a:noFill/>
                </a:ln>
                <a:solidFill>
                  <a:srgbClr val="000000"/>
                </a:solidFill>
                <a:effectLst/>
                <a:uLnTx/>
                <a:uFillTx/>
                <a:latin typeface="Lato Light"/>
                <a:ea typeface="+mn-ea"/>
                <a:cs typeface="+mn-cs"/>
              </a:rPr>
              <a:t>benefi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Lato Light"/>
                <a:ea typeface="+mn-ea"/>
                <a:cs typeface="+mn-cs"/>
              </a:rPr>
              <a:t>you provide or the </a:t>
            </a:r>
            <a:r>
              <a:rPr kumimoji="0" lang="en-GB" sz="1200" b="0" i="1" u="none" strike="noStrike" kern="1200" cap="none" spc="0" normalizeH="0" baseline="0" noProof="0" dirty="0">
                <a:ln>
                  <a:noFill/>
                </a:ln>
                <a:solidFill>
                  <a:srgbClr val="000000"/>
                </a:solidFill>
                <a:effectLst/>
                <a:uLnTx/>
                <a:uFillTx/>
                <a:latin typeface="Lato Light"/>
                <a:ea typeface="+mn-ea"/>
                <a:cs typeface="+mn-cs"/>
              </a:rPr>
              <a:t>needs </a:t>
            </a:r>
            <a:r>
              <a:rPr kumimoji="0" lang="en-GB" sz="1200" b="0" i="0" u="none" strike="noStrike" kern="1200" cap="none" spc="0" normalizeH="0" baseline="0" noProof="0" dirty="0">
                <a:ln>
                  <a:noFill/>
                </a:ln>
                <a:solidFill>
                  <a:srgbClr val="000000"/>
                </a:solidFill>
                <a:effectLst/>
                <a:uLnTx/>
                <a:uFillTx/>
                <a:latin typeface="Lato Light"/>
                <a:ea typeface="+mn-ea"/>
                <a:cs typeface="+mn-cs"/>
              </a:rPr>
              <a:t>you satisfy, rather than in terms of what you</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Lato Light"/>
                <a:ea typeface="+mn-ea"/>
                <a:cs typeface="+mn-cs"/>
              </a:rPr>
              <a:t>mak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srgbClr val="000000"/>
                </a:solidFill>
                <a:effectLst/>
                <a:uLnTx/>
                <a:uFillTx/>
                <a:latin typeface="Lato Light"/>
                <a:ea typeface="+mn-ea"/>
                <a:cs typeface="+mn-cs"/>
              </a:rPr>
              <a:t>Distinctive competences </a:t>
            </a:r>
            <a:r>
              <a:rPr kumimoji="0" lang="en-GB" sz="1200" b="0" i="0" u="none" strike="noStrike" kern="1200" cap="none" spc="0" normalizeH="0" baseline="0" noProof="0" dirty="0">
                <a:ln>
                  <a:noFill/>
                </a:ln>
                <a:solidFill>
                  <a:srgbClr val="000000"/>
                </a:solidFill>
                <a:effectLst/>
                <a:uLnTx/>
                <a:uFillTx/>
                <a:latin typeface="Lato Light"/>
                <a:ea typeface="+mn-ea"/>
                <a:cs typeface="+mn-cs"/>
              </a:rPr>
              <a:t>– these are the essential skills/capabilities resources that underpin whatever success has been achieved to d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Lato Light"/>
                <a:ea typeface="+mn-ea"/>
                <a:cs typeface="+mn-cs"/>
              </a:rPr>
              <a:t>Competence can consist of one particular item or the possession of a numb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Lato Light"/>
                <a:ea typeface="+mn-ea"/>
                <a:cs typeface="+mn-cs"/>
              </a:rPr>
              <a:t>of skills compared with competitors. If, however, you could equall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Lato Light"/>
                <a:ea typeface="+mn-ea"/>
                <a:cs typeface="+mn-cs"/>
              </a:rPr>
              <a:t>well put a competitor’s name to these distinctive competences, then the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Lato Light"/>
                <a:ea typeface="+mn-ea"/>
                <a:cs typeface="+mn-cs"/>
              </a:rPr>
              <a:t>are not distinctive competen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Lato Light"/>
                <a:ea typeface="+mn-ea"/>
                <a:cs typeface="+mn-cs"/>
              </a:rPr>
              <a:t>Indications for the futu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Lato Light"/>
                <a:ea typeface="+mn-ea"/>
                <a:cs typeface="+mn-cs"/>
              </a:rPr>
              <a:t>What the firm </a:t>
            </a:r>
            <a:r>
              <a:rPr kumimoji="0" lang="en-GB" sz="1200" b="0" i="1" u="none" strike="noStrike" kern="1200" cap="none" spc="0" normalizeH="0" baseline="0" noProof="0" dirty="0">
                <a:ln>
                  <a:noFill/>
                </a:ln>
                <a:solidFill>
                  <a:srgbClr val="000000"/>
                </a:solidFill>
                <a:effectLst/>
                <a:uLnTx/>
                <a:uFillTx/>
                <a:latin typeface="Lato Light"/>
                <a:ea typeface="+mn-ea"/>
                <a:cs typeface="+mn-cs"/>
              </a:rPr>
              <a:t>will </a:t>
            </a:r>
            <a:r>
              <a:rPr kumimoji="0" lang="en-GB" sz="1200" b="0" i="0" u="none" strike="noStrike" kern="1200" cap="none" spc="0" normalizeH="0" baseline="0" noProof="0" dirty="0">
                <a:ln>
                  <a:noFill/>
                </a:ln>
                <a:solidFill>
                  <a:srgbClr val="000000"/>
                </a:solidFill>
                <a:effectLst/>
                <a:uLnTx/>
                <a:uFillTx/>
                <a:latin typeface="Lato Light"/>
                <a:ea typeface="+mn-ea"/>
                <a:cs typeface="+mn-cs"/>
              </a:rPr>
              <a:t>d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Lato Light"/>
                <a:ea typeface="+mn-ea"/>
                <a:cs typeface="+mn-cs"/>
              </a:rPr>
              <a:t>What the firm </a:t>
            </a:r>
            <a:r>
              <a:rPr kumimoji="0" lang="en-GB" sz="1200" b="0" i="1" u="none" strike="noStrike" kern="1200" cap="none" spc="0" normalizeH="0" baseline="0" noProof="0" dirty="0">
                <a:ln>
                  <a:noFill/>
                </a:ln>
                <a:solidFill>
                  <a:srgbClr val="000000"/>
                </a:solidFill>
                <a:effectLst/>
                <a:uLnTx/>
                <a:uFillTx/>
                <a:latin typeface="Lato Light"/>
                <a:ea typeface="+mn-ea"/>
                <a:cs typeface="+mn-cs"/>
              </a:rPr>
              <a:t>might </a:t>
            </a:r>
            <a:r>
              <a:rPr kumimoji="0" lang="en-GB" sz="1200" b="0" i="0" u="none" strike="noStrike" kern="1200" cap="none" spc="0" normalizeH="0" baseline="0" noProof="0" dirty="0">
                <a:ln>
                  <a:noFill/>
                </a:ln>
                <a:solidFill>
                  <a:srgbClr val="000000"/>
                </a:solidFill>
                <a:effectLst/>
                <a:uLnTx/>
                <a:uFillTx/>
                <a:latin typeface="Lato Light"/>
                <a:ea typeface="+mn-ea"/>
                <a:cs typeface="+mn-cs"/>
              </a:rPr>
              <a:t>d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Lato Light"/>
                <a:ea typeface="+mn-ea"/>
                <a:cs typeface="+mn-cs"/>
              </a:rPr>
              <a:t>What the firm will </a:t>
            </a:r>
            <a:r>
              <a:rPr kumimoji="0" lang="en-GB" sz="1200" b="0" i="1" u="none" strike="noStrike" kern="1200" cap="none" spc="0" normalizeH="0" baseline="0" noProof="0" dirty="0">
                <a:ln>
                  <a:noFill/>
                </a:ln>
                <a:solidFill>
                  <a:srgbClr val="000000"/>
                </a:solidFill>
                <a:effectLst/>
                <a:uLnTx/>
                <a:uFillTx/>
                <a:latin typeface="Lato Light"/>
                <a:ea typeface="+mn-ea"/>
                <a:cs typeface="+mn-cs"/>
              </a:rPr>
              <a:t>never </a:t>
            </a:r>
            <a:r>
              <a:rPr kumimoji="0" lang="en-GB" sz="1200" b="0" i="0" u="none" strike="noStrike" kern="1200" cap="none" spc="0" normalizeH="0" baseline="0" noProof="0" dirty="0">
                <a:ln>
                  <a:noFill/>
                </a:ln>
                <a:solidFill>
                  <a:srgbClr val="000000"/>
                </a:solidFill>
                <a:effectLst/>
                <a:uLnTx/>
                <a:uFillTx/>
                <a:latin typeface="Lato Light"/>
                <a:ea typeface="+mn-ea"/>
                <a:cs typeface="+mn-cs"/>
              </a:rPr>
              <a:t>do</a:t>
            </a:r>
            <a:endParaRPr kumimoji="0" lang="en-GB" sz="1200" b="0" i="0" u="none" strike="noStrike" kern="1200" cap="none" spc="0" normalizeH="0" baseline="0" noProof="0" dirty="0">
              <a:ln>
                <a:noFill/>
              </a:ln>
              <a:solidFill>
                <a:prstClr val="black"/>
              </a:solidFill>
              <a:effectLst/>
              <a:uLnTx/>
              <a:uFillTx/>
              <a:latin typeface="Lato Light"/>
              <a:ea typeface="+mn-ea"/>
              <a:cs typeface="+mn-cs"/>
            </a:endParaRPr>
          </a:p>
        </p:txBody>
      </p:sp>
      <p:sp>
        <p:nvSpPr>
          <p:cNvPr id="6" name="TextBox 5">
            <a:extLst>
              <a:ext uri="{FF2B5EF4-FFF2-40B4-BE49-F238E27FC236}">
                <a16:creationId xmlns:a16="http://schemas.microsoft.com/office/drawing/2014/main" id="{86E89523-510D-A75A-B0F8-5D5CE5E354F9}"/>
              </a:ext>
            </a:extLst>
          </p:cNvPr>
          <p:cNvSpPr txBox="1"/>
          <p:nvPr/>
        </p:nvSpPr>
        <p:spPr>
          <a:xfrm>
            <a:off x="11677650" y="6353175"/>
            <a:ext cx="43815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Lato Light"/>
                <a:ea typeface="+mn-ea"/>
                <a:cs typeface="+mn-cs"/>
              </a:rPr>
              <a:t>1</a:t>
            </a:r>
          </a:p>
        </p:txBody>
      </p:sp>
      <p:sp>
        <p:nvSpPr>
          <p:cNvPr id="7" name="TextBox 6">
            <a:extLst>
              <a:ext uri="{FF2B5EF4-FFF2-40B4-BE49-F238E27FC236}">
                <a16:creationId xmlns:a16="http://schemas.microsoft.com/office/drawing/2014/main" id="{C6DE4324-7CBF-A993-2ECB-8CB622909BED}"/>
              </a:ext>
            </a:extLst>
          </p:cNvPr>
          <p:cNvSpPr txBox="1"/>
          <p:nvPr/>
        </p:nvSpPr>
        <p:spPr>
          <a:xfrm>
            <a:off x="171450" y="463034"/>
            <a:ext cx="60960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4986FC"/>
                </a:solidFill>
                <a:effectLst/>
                <a:uLnTx/>
                <a:uFillTx/>
                <a:latin typeface="Frutiger-Bold"/>
                <a:ea typeface="+mn-ea"/>
                <a:cs typeface="+mn-cs"/>
              </a:rPr>
              <a:t>Mission Statement </a:t>
            </a:r>
            <a:endParaRPr kumimoji="0" lang="en-GB" sz="1800" b="0" i="0" u="none" strike="noStrike" kern="1200" cap="none" spc="0" normalizeH="0" baseline="0" noProof="0" dirty="0">
              <a:ln>
                <a:noFill/>
              </a:ln>
              <a:solidFill>
                <a:prstClr val="black"/>
              </a:solidFill>
              <a:effectLst/>
              <a:uLnTx/>
              <a:uFillTx/>
              <a:latin typeface="Lato Light"/>
              <a:ea typeface="+mn-ea"/>
              <a:cs typeface="+mn-cs"/>
            </a:endParaRPr>
          </a:p>
        </p:txBody>
      </p:sp>
      <p:sp>
        <p:nvSpPr>
          <p:cNvPr id="8" name="TextBox 7">
            <a:extLst>
              <a:ext uri="{FF2B5EF4-FFF2-40B4-BE49-F238E27FC236}">
                <a16:creationId xmlns:a16="http://schemas.microsoft.com/office/drawing/2014/main" id="{D2BEED8B-A81F-5001-5FF3-FF3BAC24D8EB}"/>
              </a:ext>
            </a:extLst>
          </p:cNvPr>
          <p:cNvSpPr txBox="1"/>
          <p:nvPr/>
        </p:nvSpPr>
        <p:spPr>
          <a:xfrm>
            <a:off x="268942" y="207845"/>
            <a:ext cx="10056158" cy="800219"/>
          </a:xfrm>
          <a:prstGeom prst="rect">
            <a:avLst/>
          </a:prstGeom>
          <a:solidFill>
            <a:schemeClr val="bg1"/>
          </a:solid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s</a:t>
            </a: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ission Statements </a:t>
            </a:r>
          </a:p>
        </p:txBody>
      </p:sp>
      <p:pic>
        <p:nvPicPr>
          <p:cNvPr id="9" name="Picture 8" descr="Logo&#10;&#10;Description automatically generated">
            <a:extLst>
              <a:ext uri="{FF2B5EF4-FFF2-40B4-BE49-F238E27FC236}">
                <a16:creationId xmlns:a16="http://schemas.microsoft.com/office/drawing/2014/main" id="{775F42AF-1B08-09EA-B4DD-BB31516FBF6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10" name="Footer Placeholder 3">
            <a:extLst>
              <a:ext uri="{FF2B5EF4-FFF2-40B4-BE49-F238E27FC236}">
                <a16:creationId xmlns:a16="http://schemas.microsoft.com/office/drawing/2014/main" id="{AFD6B137-F511-713D-CC19-C944A784F425}"/>
              </a:ext>
            </a:extLst>
          </p:cNvPr>
          <p:cNvSpPr>
            <a:spLocks noGrp="1"/>
          </p:cNvSpPr>
          <p:nvPr>
            <p:ph type="ftr" sz="quarter" idx="11"/>
          </p:nvPr>
        </p:nvSpPr>
        <p:spPr>
          <a:xfrm>
            <a:off x="403860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Lato Light"/>
                <a:ea typeface="+mn-ea"/>
                <a:cs typeface="+mn-cs"/>
              </a:rPr>
              <a:t>www.upskilpro.com</a:t>
            </a:r>
            <a:endParaRPr kumimoji="0" lang="en-GB" sz="1200" b="0" i="0" u="none" strike="noStrike" kern="1200" cap="none" spc="0" normalizeH="0" baseline="0" noProof="0" dirty="0">
              <a:ln>
                <a:noFill/>
              </a:ln>
              <a:solidFill>
                <a:prstClr val="black">
                  <a:tint val="75000"/>
                </a:prstClr>
              </a:solidFill>
              <a:effectLst/>
              <a:uLnTx/>
              <a:uFillTx/>
              <a:latin typeface="Lato Light"/>
              <a:ea typeface="+mn-ea"/>
              <a:cs typeface="+mn-cs"/>
            </a:endParaRPr>
          </a:p>
        </p:txBody>
      </p:sp>
      <p:grpSp>
        <p:nvGrpSpPr>
          <p:cNvPr id="13" name="Group 12">
            <a:extLst>
              <a:ext uri="{FF2B5EF4-FFF2-40B4-BE49-F238E27FC236}">
                <a16:creationId xmlns:a16="http://schemas.microsoft.com/office/drawing/2014/main" id="{40CCE016-F3AA-E02F-3250-2CB7ED9C4DD2}"/>
              </a:ext>
            </a:extLst>
          </p:cNvPr>
          <p:cNvGrpSpPr/>
          <p:nvPr/>
        </p:nvGrpSpPr>
        <p:grpSpPr>
          <a:xfrm>
            <a:off x="904874" y="3371850"/>
            <a:ext cx="1838325" cy="1094006"/>
            <a:chOff x="9763124" y="685800"/>
            <a:chExt cx="1838325" cy="1094006"/>
          </a:xfrm>
        </p:grpSpPr>
        <p:pic>
          <p:nvPicPr>
            <p:cNvPr id="1026" name="Picture 2" descr="Mission, vision and values flat style design icons signs web concepts vector illustration set isolated on white background. Web page template concepts for business company strategy and teamwork plan.">
              <a:extLst>
                <a:ext uri="{FF2B5EF4-FFF2-40B4-BE49-F238E27FC236}">
                  <a16:creationId xmlns:a16="http://schemas.microsoft.com/office/drawing/2014/main" id="{422D0087-F10D-FFFC-8F31-A04E9494DC98}"/>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7292" t="18750" r="70833" b="38750"/>
            <a:stretch/>
          </p:blipFill>
          <p:spPr bwMode="auto">
            <a:xfrm>
              <a:off x="10544175" y="685800"/>
              <a:ext cx="1000125" cy="97155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9B0BA05A-F3FE-69EF-4326-8EFB370849E1}"/>
                </a:ext>
              </a:extLst>
            </p:cNvPr>
            <p:cNvSpPr txBox="1"/>
            <p:nvPr/>
          </p:nvSpPr>
          <p:spPr>
            <a:xfrm>
              <a:off x="9763124" y="1133475"/>
              <a:ext cx="1838325"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iss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STATEMENT</a:t>
              </a:r>
            </a:p>
          </p:txBody>
        </p:sp>
      </p:grpSp>
    </p:spTree>
    <p:extLst>
      <p:ext uri="{BB962C8B-B14F-4D97-AF65-F5344CB8AC3E}">
        <p14:creationId xmlns:p14="http://schemas.microsoft.com/office/powerpoint/2010/main" val="19190238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cHUJNiOteES9UyxHD1yys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yJkVoN3PkmkbAXSW_oZ_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yJkVoN3PkmkbAXSW_oZ_A"/>
</p:tagLst>
</file>

<file path=ppt/theme/theme1.xml><?xml version="1.0" encoding="utf-8"?>
<a:theme xmlns:a="http://schemas.openxmlformats.org/drawingml/2006/main" name="Office Theme">
  <a:themeElements>
    <a:clrScheme name="upskilPRO">
      <a:dk1>
        <a:sysClr val="windowText" lastClr="000000"/>
      </a:dk1>
      <a:lt1>
        <a:sysClr val="window" lastClr="FFFFFF"/>
      </a:lt1>
      <a:dk2>
        <a:srgbClr val="44546A"/>
      </a:dk2>
      <a:lt2>
        <a:srgbClr val="E7E6E6"/>
      </a:lt2>
      <a:accent1>
        <a:srgbClr val="0091B5"/>
      </a:accent1>
      <a:accent2>
        <a:srgbClr val="DB5000"/>
      </a:accent2>
      <a:accent3>
        <a:srgbClr val="EEBA00"/>
      </a:accent3>
      <a:accent4>
        <a:srgbClr val="2A4A8B"/>
      </a:accent4>
      <a:accent5>
        <a:srgbClr val="F8D90F"/>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upskilPRO">
      <a:dk1>
        <a:sysClr val="windowText" lastClr="000000"/>
      </a:dk1>
      <a:lt1>
        <a:sysClr val="window" lastClr="FFFFFF"/>
      </a:lt1>
      <a:dk2>
        <a:srgbClr val="44546A"/>
      </a:dk2>
      <a:lt2>
        <a:srgbClr val="E7E6E6"/>
      </a:lt2>
      <a:accent1>
        <a:srgbClr val="0091B5"/>
      </a:accent1>
      <a:accent2>
        <a:srgbClr val="DB5000"/>
      </a:accent2>
      <a:accent3>
        <a:srgbClr val="EEBA00"/>
      </a:accent3>
      <a:accent4>
        <a:srgbClr val="2A4A8B"/>
      </a:accent4>
      <a:accent5>
        <a:srgbClr val="F8D90F"/>
      </a:accent5>
      <a:accent6>
        <a:srgbClr val="70AD47"/>
      </a:accent6>
      <a:hlink>
        <a:srgbClr val="0563C1"/>
      </a:hlink>
      <a:folHlink>
        <a:srgbClr val="954F72"/>
      </a:folHlink>
    </a:clrScheme>
    <a:fontScheme name="UpskilPRO">
      <a:majorFont>
        <a:latin typeface="Lato Light"/>
        <a:ea typeface=""/>
        <a:cs typeface=""/>
      </a:majorFont>
      <a:minorFont>
        <a:latin typeface="La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upskilPRO">
      <a:dk1>
        <a:sysClr val="windowText" lastClr="000000"/>
      </a:dk1>
      <a:lt1>
        <a:sysClr val="window" lastClr="FFFFFF"/>
      </a:lt1>
      <a:dk2>
        <a:srgbClr val="44546A"/>
      </a:dk2>
      <a:lt2>
        <a:srgbClr val="E7E6E6"/>
      </a:lt2>
      <a:accent1>
        <a:srgbClr val="0091B5"/>
      </a:accent1>
      <a:accent2>
        <a:srgbClr val="DB5000"/>
      </a:accent2>
      <a:accent3>
        <a:srgbClr val="EEBA00"/>
      </a:accent3>
      <a:accent4>
        <a:srgbClr val="2A4A8B"/>
      </a:accent4>
      <a:accent5>
        <a:srgbClr val="F8D90F"/>
      </a:accent5>
      <a:accent6>
        <a:srgbClr val="70AD47"/>
      </a:accent6>
      <a:hlink>
        <a:srgbClr val="0563C1"/>
      </a:hlink>
      <a:folHlink>
        <a:srgbClr val="954F72"/>
      </a:folHlink>
    </a:clrScheme>
    <a:fontScheme name="UpskilPRO-2">
      <a:majorFont>
        <a:latin typeface="Lato Light"/>
        <a:ea typeface=""/>
        <a:cs typeface=""/>
      </a:majorFont>
      <a:minorFont>
        <a:latin typeface="La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Office Theme">
  <a:themeElements>
    <a:clrScheme name="upskilPRO">
      <a:dk1>
        <a:sysClr val="windowText" lastClr="000000"/>
      </a:dk1>
      <a:lt1>
        <a:sysClr val="window" lastClr="FFFFFF"/>
      </a:lt1>
      <a:dk2>
        <a:srgbClr val="44546A"/>
      </a:dk2>
      <a:lt2>
        <a:srgbClr val="E7E6E6"/>
      </a:lt2>
      <a:accent1>
        <a:srgbClr val="0091B5"/>
      </a:accent1>
      <a:accent2>
        <a:srgbClr val="DB5000"/>
      </a:accent2>
      <a:accent3>
        <a:srgbClr val="EEBA00"/>
      </a:accent3>
      <a:accent4>
        <a:srgbClr val="2A4A8B"/>
      </a:accent4>
      <a:accent5>
        <a:srgbClr val="F8D90F"/>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1</TotalTime>
  <Words>4403</Words>
  <Application>Microsoft Office PowerPoint</Application>
  <PresentationFormat>Widescreen</PresentationFormat>
  <Paragraphs>939</Paragraphs>
  <Slides>46</Slides>
  <Notes>0</Notes>
  <HiddenSlides>0</HiddenSlides>
  <MMClips>0</MMClips>
  <ScaleCrop>false</ScaleCrop>
  <HeadingPairs>
    <vt:vector size="6" baseType="variant">
      <vt:variant>
        <vt:lpstr>Fonts Used</vt:lpstr>
      </vt:variant>
      <vt:variant>
        <vt:i4>11</vt:i4>
      </vt:variant>
      <vt:variant>
        <vt:lpstr>Theme</vt:lpstr>
      </vt:variant>
      <vt:variant>
        <vt:i4>5</vt:i4>
      </vt:variant>
      <vt:variant>
        <vt:lpstr>Slide Titles</vt:lpstr>
      </vt:variant>
      <vt:variant>
        <vt:i4>46</vt:i4>
      </vt:variant>
    </vt:vector>
  </HeadingPairs>
  <TitlesOfParts>
    <vt:vector size="62" baseType="lpstr">
      <vt:lpstr>-apple-system</vt:lpstr>
      <vt:lpstr>Arial</vt:lpstr>
      <vt:lpstr>Arial Black</vt:lpstr>
      <vt:lpstr>Calibri</vt:lpstr>
      <vt:lpstr>Calibri Light</vt:lpstr>
      <vt:lpstr>Frutiger-Bold</vt:lpstr>
      <vt:lpstr>Inter</vt:lpstr>
      <vt:lpstr>Lato light</vt:lpstr>
      <vt:lpstr>Lato light</vt:lpstr>
      <vt:lpstr>Plato</vt:lpstr>
      <vt:lpstr>Poppins</vt:lpstr>
      <vt:lpstr>Office Theme</vt:lpstr>
      <vt:lpstr>1_Office Theme</vt:lpstr>
      <vt:lpstr>5_Office Theme</vt:lpstr>
      <vt:lpstr>3_Office Theme</vt:lpstr>
      <vt:lpstr>2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udarshan Chakravarthi</dc:creator>
  <cp:lastModifiedBy>Sudarshan Raman</cp:lastModifiedBy>
  <cp:revision>2</cp:revision>
  <dcterms:created xsi:type="dcterms:W3CDTF">2023-03-22T13:02:30Z</dcterms:created>
  <dcterms:modified xsi:type="dcterms:W3CDTF">2023-07-07T07:56:43Z</dcterms:modified>
</cp:coreProperties>
</file>